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media/image6.png" ContentType="image/jpe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87" r:id="rId2"/>
    <p:sldId id="257" r:id="rId3"/>
    <p:sldId id="258" r:id="rId4"/>
    <p:sldId id="286" r:id="rId5"/>
    <p:sldId id="307" r:id="rId6"/>
    <p:sldId id="293" r:id="rId7"/>
    <p:sldId id="298" r:id="rId8"/>
    <p:sldId id="309" r:id="rId9"/>
    <p:sldId id="312" r:id="rId10"/>
    <p:sldId id="311" r:id="rId11"/>
    <p:sldId id="289" r:id="rId12"/>
    <p:sldId id="265" r:id="rId13"/>
    <p:sldId id="270" r:id="rId14"/>
    <p:sldId id="314" r:id="rId15"/>
    <p:sldId id="302" r:id="rId16"/>
    <p:sldId id="315" r:id="rId17"/>
    <p:sldId id="264" r:id="rId18"/>
    <p:sldId id="283" r:id="rId19"/>
    <p:sldId id="301" r:id="rId20"/>
    <p:sldId id="295" r:id="rId21"/>
    <p:sldId id="296" r:id="rId22"/>
    <p:sldId id="297" r:id="rId23"/>
  </p:sldIdLst>
  <p:sldSz cx="9144000" cy="6858000" type="screen4x3"/>
  <p:notesSz cx="6797675" cy="9928225"/>
  <p:custDataLst>
    <p:tags r:id="rId26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rigat.Michael" initials="GM" lastIdx="9" clrIdx="0"/>
  <p:cmAuthor id="1" name="Salil Sawhney" initials="SS" lastIdx="2" clrIdx="1"/>
  <p:cmAuthor id="2" name="krauss.sandro" initials="sk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8333" autoAdjust="0"/>
    <p:restoredTop sz="96530" autoAdjust="0"/>
  </p:normalViewPr>
  <p:slideViewPr>
    <p:cSldViewPr>
      <p:cViewPr varScale="1">
        <p:scale>
          <a:sx n="97" d="100"/>
          <a:sy n="97" d="100"/>
        </p:scale>
        <p:origin x="-1685" y="-8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2923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3081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148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148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1"/>
            <a:ext cx="6797675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529336" y="103597"/>
            <a:ext cx="627166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41173" y="103597"/>
            <a:ext cx="809247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27100" y="750888"/>
            <a:ext cx="4941888" cy="37084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05735" y="4716163"/>
            <a:ext cx="4984651" cy="446651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252326" y="9612343"/>
            <a:ext cx="904177" cy="19360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159176" y="9612342"/>
            <a:ext cx="501111" cy="38891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08092" y="961234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09648" y="9610645"/>
            <a:ext cx="53783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34948" y="317582"/>
            <a:ext cx="55277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92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2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6AF579C-E269-44CC-A9F4-B7D1E2EA3836}" type="slidenum">
              <a:rPr lang="en-US"/>
              <a:pPr/>
              <a:t>17</a:t>
            </a:fld>
            <a:endParaRPr lang="en-US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46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8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9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0888"/>
            <a:ext cx="4941888" cy="3708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th Year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47A7FEEB-9CD2-43FE-843C-C5350BEACB4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590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A25EADA-8DDC-4EE3-B5F1-3BBBDDDD6BEC}" type="slidenum">
              <a:rPr lang="en-US"/>
              <a:pPr/>
              <a:t>3</a:t>
            </a:fld>
            <a:endParaRPr lang="en-US"/>
          </a:p>
        </p:txBody>
      </p:sp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60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4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5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D310956-CE0F-4B68-9CE0-7A7604BB42D7}" type="slidenum">
              <a:rPr lang="en-US"/>
              <a:pPr/>
              <a:t>6</a:t>
            </a:fld>
            <a:endParaRPr lang="en-US"/>
          </a:p>
        </p:txBody>
      </p:sp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58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7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8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1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84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5643570" y="6475413"/>
            <a:ext cx="2898768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03025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4"/>
            <a:r>
              <a:rPr lang="en-GB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Nr.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802.11-17/1019r1</a:t>
            </a:r>
            <a:endParaRPr kumimoji="0" lang="en-GB" sz="1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Microsoft_Word_97_-_2003_Document1.doc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mmWave </a:t>
            </a:r>
            <a:r>
              <a:rPr lang="en-GB" dirty="0"/>
              <a:t>Mesh </a:t>
            </a:r>
            <a:r>
              <a:rPr lang="en-GB" dirty="0" smtClean="0"/>
              <a:t>Network Usage Model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7772400" cy="3968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17-07-10</a:t>
            </a:r>
            <a:endParaRPr lang="en-GB" sz="2000" b="0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0163917"/>
              </p:ext>
            </p:extLst>
          </p:nvPr>
        </p:nvGraphicFramePr>
        <p:xfrm>
          <a:off x="508000" y="2568575"/>
          <a:ext cx="7662863" cy="25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" name="Document" r:id="rId4" imgW="8252039" imgH="2742525" progId="Word.Document.8">
                  <p:embed/>
                </p:oleObj>
              </mc:Choice>
              <mc:Fallback>
                <p:oleObj name="Document" r:id="rId4" imgW="8252039" imgH="2742525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000" y="2568575"/>
                        <a:ext cx="7662863" cy="25400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533400" y="1939925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>
                <a:solidFill>
                  <a:srgbClr val="000000"/>
                </a:solidFill>
              </a:rPr>
              <a:t>Authors: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14865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556792"/>
            <a:ext cx="3841304" cy="151216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cy will be achieved via the Mesh topology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s-of-Failu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ve to be avoided, either by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ti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quipment at the “first” pole next to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r alternative via connection of the Mesh network to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2 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s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1ay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esh network connect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y optical fibe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ward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Telco / Service Provider network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394246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72000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ll be formed by a number of 11ay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s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ich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d f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the proposed application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ddition to the Mesh backhaul, also a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tMP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access network is buil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serve the homes/buildings.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ed to support a transmission over multiple hops in order to reach area coverage. 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a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er hop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ired DNs i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 and distance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sit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d 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me/Building AP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number of hops in a daisy-chain is limited by area topology constraints, resulting in &lt; 5 hops typically.</a:t>
            </a:r>
          </a:p>
          <a:p>
            <a:pPr marL="714375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ystem have the capability to support up to 15 hops to meet region specific requirement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Ns have to operat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nvironment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th LOS under mos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, taking into account potential constraints.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erfere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rom environment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 or other mmWave operations in the same area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bstruction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n-alignments.</a:t>
            </a:r>
          </a:p>
          <a:p>
            <a:pPr marL="185738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as to support differe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lacement option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uch as street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les (e.g. lamppost), house-walls and rooftop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graphicFrame>
        <p:nvGraphicFramePr>
          <p:cNvPr id="1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997793"/>
              </p:ext>
            </p:extLst>
          </p:nvPr>
        </p:nvGraphicFramePr>
        <p:xfrm>
          <a:off x="4716016" y="3222864"/>
          <a:ext cx="4129334" cy="25824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216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930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r>
                        <a:rPr lang="en-US" altLang="zh-CN" sz="1000" b="0" noProof="0" dirty="0" smtClean="0"/>
                        <a:t>(operator example)</a:t>
                      </a:r>
                      <a:endParaRPr lang="en-US" altLang="zh-CN" sz="1000" b="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 Mesh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Home/ Building Access 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</a:t>
                      </a:r>
                      <a:r>
                        <a:rPr lang="en-US" altLang="zh-CN" sz="1000" noProof="0" dirty="0" smtClean="0"/>
                        <a:t>utdoor)*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 (typically)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&lt; 15 (system capability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1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 (street-poles)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</a:t>
                      </a:r>
                      <a:r>
                        <a:rPr lang="en-US" altLang="zh-CN" sz="1000" baseline="0" noProof="0" dirty="0" smtClean="0"/>
                        <a:t> 1000 m (rooftops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ome/building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</a:t>
                      </a:r>
                      <a:br>
                        <a:rPr lang="en-US" altLang="zh-CN" sz="1000" baseline="0" noProof="0" dirty="0" smtClean="0"/>
                      </a:br>
                      <a:r>
                        <a:rPr lang="en-US" altLang="zh-CN" sz="1000" baseline="0" noProof="0" dirty="0" smtClean="0"/>
                        <a:t>(DL sustainable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</a:t>
                      </a:r>
                      <a:r>
                        <a:rPr lang="en-US" altLang="zh-CN" sz="1000" baseline="0" noProof="0" dirty="0" smtClean="0"/>
                        <a:t> / 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 typeface="Wingdings"/>
                        <a:buNone/>
                      </a:pPr>
                      <a:r>
                        <a:rPr lang="en-US" altLang="zh-CN" sz="1000" noProof="0" dirty="0" smtClean="0"/>
                        <a:t>&gt; 1 Gbps / Home AP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&gt; 2 Gbps / Building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AP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 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WTTH/B, </a:t>
                      </a:r>
                      <a:r>
                        <a:rPr lang="en-US" altLang="zh-CN" sz="1000" noProof="0" dirty="0" err="1" smtClean="0"/>
                        <a:t>WiFi</a:t>
                      </a:r>
                      <a:r>
                        <a:rPr lang="en-US" altLang="zh-CN" sz="1000" noProof="0" dirty="0" smtClean="0"/>
                        <a:t> AP BH)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 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5G</a:t>
                      </a:r>
                      <a:r>
                        <a:rPr lang="en-US" altLang="zh-CN" sz="1000" baseline="0" noProof="0" dirty="0" smtClean="0"/>
                        <a:t> Small cell BH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931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vailability of sust. data rate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(e-t-e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mWave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Fußzeilenplatzhalter 4"/>
          <p:cNvSpPr txBox="1">
            <a:spLocks/>
          </p:cNvSpPr>
          <p:nvPr/>
        </p:nvSpPr>
        <p:spPr bwMode="auto">
          <a:xfrm>
            <a:off x="6588224" y="5949280"/>
            <a:ext cx="216024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800" dirty="0" smtClean="0"/>
              <a:t>‘ # of hops depends on latency requirements</a:t>
            </a:r>
            <a:endParaRPr lang="en-GB" sz="800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9792" y="685801"/>
            <a:ext cx="8330680" cy="726975"/>
          </a:xfrm>
        </p:spPr>
        <p:txBody>
          <a:bodyPr/>
          <a:lstStyle/>
          <a:p>
            <a:r>
              <a:rPr lang="en-US" dirty="0" smtClean="0"/>
              <a:t>New Usage Model: Operational Requir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36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11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Proposed changes </a:t>
            </a:r>
            <a:r>
              <a:rPr lang="en-GB" dirty="0">
                <a:solidFill>
                  <a:schemeClr val="tx1"/>
                </a:solidFill>
              </a:rPr>
              <a:t>to </a:t>
            </a:r>
            <a:r>
              <a:rPr lang="en-GB" dirty="0" smtClean="0">
                <a:solidFill>
                  <a:schemeClr val="tx1"/>
                </a:solidFill>
              </a:rPr>
              <a:t>11ay use case document [3]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3568" y="2204865"/>
            <a:ext cx="7772400" cy="3456384"/>
          </a:xfrm>
          <a:ln/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request the </a:t>
            </a:r>
            <a:r>
              <a:rPr lang="en-US" b="0" dirty="0" err="1" smtClean="0"/>
              <a:t>TGay</a:t>
            </a:r>
            <a:r>
              <a:rPr lang="en-US" b="0" dirty="0" smtClean="0"/>
              <a:t> to </a:t>
            </a:r>
            <a:r>
              <a:rPr lang="en-US" b="0" dirty="0"/>
              <a:t>agree on the sketched use case “</a:t>
            </a:r>
            <a:r>
              <a:rPr lang="en-US" b="0" dirty="0" err="1"/>
              <a:t>mmWave</a:t>
            </a:r>
            <a:r>
              <a:rPr lang="en-US" b="0" dirty="0"/>
              <a:t> mesh </a:t>
            </a:r>
            <a:r>
              <a:rPr lang="en-US" b="0" dirty="0" smtClean="0"/>
              <a:t>network</a:t>
            </a:r>
            <a:r>
              <a:rPr lang="en-US" b="0" dirty="0"/>
              <a:t>” as a valid use case for 802.11ay that should be added to the 11ay use cases.</a:t>
            </a:r>
          </a:p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propose to add a corresponding use case </a:t>
            </a:r>
            <a:r>
              <a:rPr lang="en-US" b="0" dirty="0" smtClean="0"/>
              <a:t>description (slides 8-10)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 </a:t>
            </a:r>
            <a:r>
              <a:rPr lang="en-US" b="0" dirty="0"/>
              <a:t>[3</a:t>
            </a:r>
            <a:r>
              <a:rPr lang="en-US" b="0" dirty="0" smtClean="0"/>
              <a:t>].</a:t>
            </a:r>
            <a:endParaRPr lang="en-US" b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21624165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2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/>
              <a:t>Summary</a:t>
            </a:r>
            <a:endParaRPr lang="en-US" dirty="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208463"/>
          </a:xfrm>
          <a:ln/>
        </p:spPr>
        <p:txBody>
          <a:bodyPr/>
          <a:lstStyle/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Three use cases </a:t>
            </a:r>
            <a:r>
              <a:rPr lang="en-GB" b="0" dirty="0" smtClean="0">
                <a:solidFill>
                  <a:schemeClr val="tx1"/>
                </a:solidFill>
              </a:rPr>
              <a:t>of mmWave mesh networks have been presented: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-based broadband home access (WTTH)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>
                <a:solidFill>
                  <a:schemeClr val="tx1"/>
                </a:solidFill>
              </a:rPr>
              <a:t>mmWave</a:t>
            </a:r>
            <a:r>
              <a:rPr lang="en-GB" dirty="0">
                <a:solidFill>
                  <a:schemeClr val="tx1"/>
                </a:solidFill>
              </a:rPr>
              <a:t>-based </a:t>
            </a:r>
            <a:r>
              <a:rPr lang="en-GB" dirty="0" smtClean="0">
                <a:solidFill>
                  <a:schemeClr val="tx1"/>
                </a:solidFill>
              </a:rPr>
              <a:t>broadband building access </a:t>
            </a:r>
            <a:r>
              <a:rPr lang="en-GB" dirty="0">
                <a:solidFill>
                  <a:schemeClr val="tx1"/>
                </a:solidFill>
              </a:rPr>
              <a:t>(</a:t>
            </a:r>
            <a:r>
              <a:rPr lang="en-GB" dirty="0" smtClean="0">
                <a:solidFill>
                  <a:schemeClr val="tx1"/>
                </a:solidFill>
              </a:rPr>
              <a:t>WTTB) </a:t>
            </a:r>
            <a:endParaRPr lang="en-GB" dirty="0">
              <a:solidFill>
                <a:schemeClr val="tx1"/>
              </a:solidFill>
            </a:endParaRP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Wi-Fi </a:t>
            </a:r>
            <a:r>
              <a:rPr lang="en-GB" dirty="0" smtClean="0">
                <a:solidFill>
                  <a:schemeClr val="tx1"/>
                </a:solidFill>
              </a:rPr>
              <a:t>AP &amp; </a:t>
            </a:r>
            <a:r>
              <a:rPr lang="en-GB" b="0" dirty="0" smtClean="0">
                <a:solidFill>
                  <a:schemeClr val="tx1"/>
                </a:solidFill>
              </a:rPr>
              <a:t>Small Cell backhaul</a:t>
            </a:r>
            <a:endParaRPr lang="en-GB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A description of this use case should be added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[</a:t>
            </a:r>
            <a:r>
              <a:rPr lang="en-US" b="0" dirty="0"/>
              <a:t>3].</a:t>
            </a:r>
            <a:endParaRPr lang="en-US" dirty="0"/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>
                <a:solidFill>
                  <a:schemeClr val="tx1"/>
                </a:solidFill>
              </a:rPr>
              <a:t>802.11ay related requirements </a:t>
            </a:r>
            <a:r>
              <a:rPr lang="en-GB" b="0" dirty="0" smtClean="0"/>
              <a:t>for the mmWave mesh network architecture will be derived for the above mentioned use case and presented to </a:t>
            </a:r>
            <a:r>
              <a:rPr lang="en-GB" b="0" dirty="0" err="1" smtClean="0"/>
              <a:t>TGay</a:t>
            </a:r>
            <a:r>
              <a:rPr lang="en-GB" b="0" dirty="0" smtClean="0"/>
              <a:t>. </a:t>
            </a:r>
            <a:endParaRPr lang="en-GB" b="0" dirty="0" smtClean="0"/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b="0" dirty="0"/>
          </a:p>
          <a:p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9487707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w</a:t>
            </a:r>
            <a:r>
              <a:rPr lang="de-DE" dirty="0" smtClean="0"/>
              <a:t> Poll </a:t>
            </a:r>
            <a:r>
              <a:rPr lang="de-DE" dirty="0" smtClean="0"/>
              <a:t>#</a:t>
            </a:r>
            <a:r>
              <a:rPr lang="de-DE" dirty="0" smtClean="0"/>
              <a:t>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</a:t>
            </a:r>
            <a:r>
              <a:rPr lang="en-US" dirty="0" smtClean="0"/>
              <a:t>support the proposal to add </a:t>
            </a:r>
            <a:r>
              <a:rPr lang="en-US" dirty="0" smtClean="0"/>
              <a:t>the </a:t>
            </a:r>
            <a:r>
              <a:rPr lang="en-US" dirty="0" smtClean="0"/>
              <a:t>usage </a:t>
            </a:r>
            <a:r>
              <a:rPr lang="en-US" dirty="0" smtClean="0"/>
              <a:t>model </a:t>
            </a:r>
            <a:r>
              <a:rPr lang="en-US" dirty="0" smtClean="0"/>
              <a:t>“</a:t>
            </a:r>
            <a:r>
              <a:rPr lang="en-US" dirty="0" err="1" smtClean="0"/>
              <a:t>mmWave</a:t>
            </a:r>
            <a:r>
              <a:rPr lang="en-US" dirty="0" smtClean="0"/>
              <a:t> </a:t>
            </a:r>
            <a:r>
              <a:rPr lang="en-US" dirty="0" smtClean="0"/>
              <a:t>mesh network” described in this </a:t>
            </a:r>
            <a:r>
              <a:rPr lang="en-US" dirty="0"/>
              <a:t>document (slides 8-10) </a:t>
            </a:r>
            <a:r>
              <a:rPr lang="en-US" dirty="0" smtClean="0"/>
              <a:t>to a revised version of document IEEE </a:t>
            </a:r>
            <a:r>
              <a:rPr lang="en-US" dirty="0"/>
              <a:t>802.11-15/0625r3 “IEEE 802.11 </a:t>
            </a:r>
            <a:r>
              <a:rPr lang="en-US" dirty="0" err="1"/>
              <a:t>TGay</a:t>
            </a:r>
            <a:r>
              <a:rPr lang="en-US" dirty="0"/>
              <a:t> Use </a:t>
            </a:r>
            <a:r>
              <a:rPr lang="en-US" dirty="0" smtClean="0"/>
              <a:t>Cases”?</a:t>
            </a:r>
            <a:endParaRPr lang="en-US" dirty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40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on </a:t>
            </a:r>
            <a:r>
              <a:rPr lang="de-DE" dirty="0" smtClean="0"/>
              <a:t>#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agree on </a:t>
            </a:r>
            <a:r>
              <a:rPr lang="en-US" dirty="0" smtClean="0"/>
              <a:t>the proposal to add the usage model </a:t>
            </a:r>
            <a:r>
              <a:rPr lang="en-US" dirty="0" smtClean="0"/>
              <a:t>“</a:t>
            </a:r>
            <a:r>
              <a:rPr lang="en-US" dirty="0" err="1" smtClean="0"/>
              <a:t>mmWave</a:t>
            </a:r>
            <a:r>
              <a:rPr lang="en-US" dirty="0" smtClean="0"/>
              <a:t> mesh network” described in this </a:t>
            </a:r>
            <a:r>
              <a:rPr lang="en-US" dirty="0"/>
              <a:t>document (slides 8-10) </a:t>
            </a:r>
            <a:r>
              <a:rPr lang="en-US" dirty="0" smtClean="0"/>
              <a:t>to a revised version of document IEEE </a:t>
            </a:r>
            <a:r>
              <a:rPr lang="en-US" dirty="0"/>
              <a:t>802.11-15/0625r3 “IEEE 802.11 </a:t>
            </a:r>
            <a:r>
              <a:rPr lang="en-US" dirty="0" err="1"/>
              <a:t>TGay</a:t>
            </a:r>
            <a:r>
              <a:rPr lang="en-US" dirty="0"/>
              <a:t> Use </a:t>
            </a:r>
            <a:r>
              <a:rPr lang="en-US" dirty="0" smtClean="0"/>
              <a:t>Cases”?</a:t>
            </a:r>
            <a:endParaRPr lang="en-US" dirty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14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w</a:t>
            </a:r>
            <a:r>
              <a:rPr lang="de-DE" dirty="0" smtClean="0"/>
              <a:t> Poll </a:t>
            </a:r>
            <a:r>
              <a:rPr lang="de-DE" dirty="0" smtClean="0"/>
              <a:t>#2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</a:t>
            </a:r>
            <a:r>
              <a:rPr lang="en-US" dirty="0" smtClean="0"/>
              <a:t>support the proposal to add </a:t>
            </a:r>
            <a:r>
              <a:rPr lang="en-US" dirty="0" smtClean="0"/>
              <a:t>the </a:t>
            </a:r>
            <a:r>
              <a:rPr lang="en-US" dirty="0" smtClean="0"/>
              <a:t>usage model </a:t>
            </a:r>
            <a:r>
              <a:rPr lang="en-US" dirty="0" smtClean="0"/>
              <a:t>“</a:t>
            </a:r>
            <a:r>
              <a:rPr lang="en-US" dirty="0" err="1" smtClean="0"/>
              <a:t>mmWave</a:t>
            </a:r>
            <a:r>
              <a:rPr lang="en-US" dirty="0" smtClean="0"/>
              <a:t> mesh </a:t>
            </a:r>
            <a:r>
              <a:rPr lang="en-US" dirty="0"/>
              <a:t>network” (slides 8-10) </a:t>
            </a:r>
            <a:r>
              <a:rPr lang="en-US" dirty="0" smtClean="0"/>
              <a:t>as a separate usage model to </a:t>
            </a:r>
            <a:r>
              <a:rPr lang="en-US" dirty="0" smtClean="0">
                <a:solidFill>
                  <a:schemeClr val="tx1"/>
                </a:solidFill>
              </a:rPr>
              <a:t>document </a:t>
            </a:r>
            <a:r>
              <a:rPr lang="en-US" dirty="0">
                <a:solidFill>
                  <a:schemeClr val="tx1"/>
                </a:solidFill>
              </a:rPr>
              <a:t>IEEE 802.11-15/0625r3 “IEEE 802.11 </a:t>
            </a:r>
            <a:r>
              <a:rPr lang="en-US" dirty="0" err="1">
                <a:solidFill>
                  <a:schemeClr val="tx1"/>
                </a:solidFill>
              </a:rPr>
              <a:t>TGay</a:t>
            </a:r>
            <a:r>
              <a:rPr lang="en-US" dirty="0">
                <a:solidFill>
                  <a:schemeClr val="tx1"/>
                </a:solidFill>
              </a:rPr>
              <a:t> Use Cases</a:t>
            </a:r>
            <a:r>
              <a:rPr lang="en-US" dirty="0" smtClean="0">
                <a:solidFill>
                  <a:schemeClr val="tx1"/>
                </a:solidFill>
              </a:rPr>
              <a:t>” </a:t>
            </a:r>
            <a:r>
              <a:rPr lang="en-US" dirty="0" smtClean="0"/>
              <a:t>?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064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otion </a:t>
            </a:r>
            <a:r>
              <a:rPr lang="de-DE" dirty="0" smtClean="0"/>
              <a:t>#2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</a:t>
            </a:r>
            <a:r>
              <a:rPr lang="en-US" dirty="0" smtClean="0"/>
              <a:t>agree on the proposal to add </a:t>
            </a:r>
            <a:r>
              <a:rPr lang="en-US" dirty="0" smtClean="0"/>
              <a:t>the </a:t>
            </a:r>
            <a:r>
              <a:rPr lang="en-US" dirty="0" smtClean="0"/>
              <a:t>usage model </a:t>
            </a:r>
            <a:r>
              <a:rPr lang="en-US" dirty="0" smtClean="0"/>
              <a:t>“</a:t>
            </a:r>
            <a:r>
              <a:rPr lang="en-US" dirty="0" err="1" smtClean="0"/>
              <a:t>mmWave</a:t>
            </a:r>
            <a:r>
              <a:rPr lang="en-US" dirty="0" smtClean="0"/>
              <a:t> mesh </a:t>
            </a:r>
            <a:r>
              <a:rPr lang="en-US" dirty="0"/>
              <a:t>network” (slides 8-10) </a:t>
            </a:r>
            <a:r>
              <a:rPr lang="en-US" dirty="0" smtClean="0"/>
              <a:t>as a separate usage model to </a:t>
            </a:r>
            <a:r>
              <a:rPr lang="en-US" dirty="0" smtClean="0">
                <a:solidFill>
                  <a:schemeClr val="tx1"/>
                </a:solidFill>
              </a:rPr>
              <a:t>document </a:t>
            </a:r>
            <a:r>
              <a:rPr lang="en-US" dirty="0">
                <a:solidFill>
                  <a:schemeClr val="tx1"/>
                </a:solidFill>
              </a:rPr>
              <a:t>IEEE 802.11-15/0625r3 “IEEE 802.11 </a:t>
            </a:r>
            <a:r>
              <a:rPr lang="en-US" dirty="0" err="1">
                <a:solidFill>
                  <a:schemeClr val="tx1"/>
                </a:solidFill>
              </a:rPr>
              <a:t>TGay</a:t>
            </a:r>
            <a:r>
              <a:rPr lang="en-US" dirty="0">
                <a:solidFill>
                  <a:schemeClr val="tx1"/>
                </a:solidFill>
              </a:rPr>
              <a:t> Use Cases</a:t>
            </a:r>
            <a:r>
              <a:rPr lang="en-US" dirty="0" smtClean="0">
                <a:solidFill>
                  <a:schemeClr val="tx1"/>
                </a:solidFill>
              </a:rPr>
              <a:t>” </a:t>
            </a:r>
            <a:r>
              <a:rPr lang="en-US" dirty="0" smtClean="0"/>
              <a:t>?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604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531D307C-65C7-4BB3-B44A-1501D36803F7}" type="slidenum">
              <a:rPr lang="en-GB"/>
              <a:pPr/>
              <a:t>17</a:t>
            </a:fld>
            <a:endParaRPr lang="en-GB"/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Referenc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11560" y="1772816"/>
            <a:ext cx="7992888" cy="43924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r>
              <a:rPr lang="en-US" sz="1400" b="0" kern="0" dirty="0" smtClean="0"/>
              <a:t>[1] IEEE Standards Association: </a:t>
            </a:r>
            <a:r>
              <a:rPr lang="de-DE" sz="1400" b="0" kern="0" dirty="0" smtClean="0"/>
              <a:t>IEEE P802.11ad™, </a:t>
            </a:r>
            <a:r>
              <a:rPr lang="en-US" sz="1400" b="0" kern="0" dirty="0"/>
              <a:t>“Standard for Information Technology – Telecommunications and Information Exchange Between Systems – Local and Metropolitan Area 12 Networks – Specific Requirements – Part 11: Wireless LAN Medium Access Control (MAC) and Physical Layer (PHY) Specifications – Amendment 3: Enhancements </a:t>
            </a:r>
            <a:r>
              <a:rPr lang="en-US" sz="1400" b="0" kern="0" dirty="0" smtClean="0"/>
              <a:t>for Very </a:t>
            </a:r>
            <a:r>
              <a:rPr lang="en-US" sz="1400" b="0" kern="0" dirty="0"/>
              <a:t>High Throughput in the 60 GHz Band”, </a:t>
            </a:r>
            <a:r>
              <a:rPr lang="de-DE" sz="1400" b="0" kern="0" dirty="0" smtClean="0"/>
              <a:t>2012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 smtClean="0"/>
          </a:p>
          <a:p>
            <a:r>
              <a:rPr lang="en-US" sz="1400" b="0" kern="0" dirty="0" smtClean="0"/>
              <a:t>[2] IEEE Standards Association: </a:t>
            </a:r>
            <a:r>
              <a:rPr lang="de-DE" sz="1400" b="0" kern="0" dirty="0" smtClean="0"/>
              <a:t>IEEE Std 802.11s™, </a:t>
            </a:r>
            <a:r>
              <a:rPr lang="en-US" sz="1400" b="0" kern="0" dirty="0" smtClean="0"/>
              <a:t>“IEEE </a:t>
            </a:r>
            <a:r>
              <a:rPr lang="en-US" sz="1400" b="0" kern="0" dirty="0"/>
              <a:t>Standard for Information </a:t>
            </a:r>
            <a:r>
              <a:rPr lang="en-US" sz="1400" b="0" kern="0" dirty="0" smtClean="0"/>
              <a:t>Technology – Telecommunications </a:t>
            </a:r>
            <a:r>
              <a:rPr lang="en-US" sz="1400" b="0" kern="0" dirty="0"/>
              <a:t>and information </a:t>
            </a:r>
            <a:r>
              <a:rPr lang="en-US" sz="1400" b="0" kern="0" dirty="0" smtClean="0"/>
              <a:t>exchange between system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Local </a:t>
            </a:r>
            <a:r>
              <a:rPr lang="en-US" sz="1400" b="0" kern="0" dirty="0"/>
              <a:t>and metropolitan area </a:t>
            </a:r>
            <a:r>
              <a:rPr lang="en-US" sz="1400" b="0" kern="0" dirty="0" smtClean="0"/>
              <a:t>network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Specific requirements – Part </a:t>
            </a:r>
            <a:r>
              <a:rPr lang="en-US" sz="1400" b="0" kern="0" dirty="0"/>
              <a:t>11: Wireless LAN Medium Access Control (MAC) and Physical Layer (PHY) </a:t>
            </a:r>
            <a:r>
              <a:rPr lang="en-US" sz="1400" b="0" kern="0" dirty="0" smtClean="0"/>
              <a:t>specifications 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Amendment 10: Mesh </a:t>
            </a:r>
            <a:r>
              <a:rPr lang="en-US" sz="1400" b="0" kern="0" dirty="0" smtClean="0"/>
              <a:t>Networking”, </a:t>
            </a:r>
            <a:r>
              <a:rPr lang="de-DE" sz="1400" b="0" kern="0" dirty="0" smtClean="0"/>
              <a:t>2011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/>
          </a:p>
          <a:p>
            <a:r>
              <a:rPr lang="en-US" sz="1400" b="0" kern="0" dirty="0"/>
              <a:t>[3] IEEE </a:t>
            </a:r>
            <a:r>
              <a:rPr lang="en-US" sz="1400" b="0" kern="0" dirty="0" smtClean="0"/>
              <a:t>802.11-15/0625r3 “IEEE </a:t>
            </a:r>
            <a:r>
              <a:rPr lang="en-US" sz="1400" b="0" kern="0" dirty="0"/>
              <a:t>802.11 </a:t>
            </a:r>
            <a:r>
              <a:rPr lang="en-US" sz="1400" b="0" kern="0" dirty="0" err="1"/>
              <a:t>TGay</a:t>
            </a:r>
            <a:r>
              <a:rPr lang="en-US" sz="1400" b="0" kern="0" dirty="0"/>
              <a:t> Use </a:t>
            </a:r>
            <a:r>
              <a:rPr lang="en-US" sz="1400" b="0" kern="0" dirty="0" smtClean="0"/>
              <a:t>Cases”</a:t>
            </a:r>
          </a:p>
          <a:p>
            <a:endParaRPr lang="en-US" sz="1400" b="0" kern="0" dirty="0"/>
          </a:p>
          <a:p>
            <a:r>
              <a:rPr lang="en-US" sz="1400" b="0" kern="0" dirty="0" smtClean="0"/>
              <a:t>[4] </a:t>
            </a:r>
            <a:r>
              <a:rPr lang="en-US" sz="1400" b="0" kern="0" dirty="0"/>
              <a:t>Challenges for Optical Wireless: An Operator’s Perspective. </a:t>
            </a:r>
            <a:r>
              <a:rPr lang="en-US" sz="1400" b="0" kern="0" dirty="0" smtClean="0"/>
              <a:t>Behrens</a:t>
            </a:r>
            <a:r>
              <a:rPr lang="en-US" sz="1400" b="0" kern="0" dirty="0"/>
              <a:t>, C.; Lange, C.; Gladisch, A</a:t>
            </a:r>
            <a:r>
              <a:rPr lang="en-US" sz="1400" b="0" kern="0" dirty="0" smtClean="0"/>
              <a:t>.: Optical </a:t>
            </a:r>
            <a:r>
              <a:rPr lang="en-US" sz="1400" b="0" kern="0" dirty="0"/>
              <a:t>Fiber Communications Conference (OFC). Workshop: Optical Wireless – Can it Become a Gigabit Wireless Alternative? –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Capabilities, Opportunities, Challenges and Threats, Los Angeles (CA, USA), March 19–23, 2017</a:t>
            </a:r>
          </a:p>
          <a:p>
            <a:endParaRPr lang="en-US" sz="14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8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/>
              <a:t>Abbreviations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844824"/>
            <a:ext cx="3672408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Point of Pres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tMP	Point to Multi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Experi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Servi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GW	Residential Gatewa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TT	Round Trip Ti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	Small Cel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BH	Wireless 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LAN	Wireless Local Area Networ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	Wireless to the Building</a:t>
            </a:r>
            <a:endParaRPr lang="en-US" sz="800" kern="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	Wireless to the Home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2"/>
          <p:cNvSpPr txBox="1"/>
          <p:nvPr/>
        </p:nvSpPr>
        <p:spPr>
          <a:xfrm>
            <a:off x="586680" y="1844824"/>
            <a:ext cx="3985320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	Access 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H	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/I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Confidentiality/Integrity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L	Downlin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	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istribution Nod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IRP	Equivalent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otropically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Radiated Power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MC	Electromagnetic Compatibilit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TTH	Fiber to the Ho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WA	Fixed-Wireless Access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	Line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	Non-Light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T	Network Termination</a:t>
            </a:r>
          </a:p>
        </p:txBody>
      </p:sp>
    </p:spTree>
    <p:extLst>
      <p:ext uri="{BB962C8B-B14F-4D97-AF65-F5344CB8AC3E}">
        <p14:creationId xmlns:p14="http://schemas.microsoft.com/office/powerpoint/2010/main" val="6142635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9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/>
              <a:t>Appendix</a:t>
            </a:r>
            <a:endParaRPr lang="en-US" dirty="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208463"/>
          </a:xfrm>
          <a:ln/>
        </p:spPr>
        <p:txBody>
          <a:bodyPr/>
          <a:lstStyle/>
          <a:p>
            <a:pPr marL="266700" indent="-266700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Use case details</a:t>
            </a:r>
            <a:endParaRPr lang="en-GB" b="0" dirty="0" smtClean="0">
              <a:solidFill>
                <a:schemeClr val="tx1"/>
              </a:solidFill>
            </a:endParaRP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TTH Access</a:t>
            </a: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TTB Access</a:t>
            </a:r>
            <a:endParaRPr lang="en-GB" dirty="0">
              <a:solidFill>
                <a:schemeClr val="tx1"/>
              </a:solidFill>
            </a:endParaRP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Wi-Fi </a:t>
            </a:r>
            <a:r>
              <a:rPr lang="en-GB" dirty="0" smtClean="0">
                <a:solidFill>
                  <a:schemeClr val="tx1"/>
                </a:solidFill>
              </a:rPr>
              <a:t>AP &amp; </a:t>
            </a:r>
            <a:r>
              <a:rPr lang="en-GB" b="0" dirty="0" smtClean="0">
                <a:solidFill>
                  <a:schemeClr val="tx1"/>
                </a:solidFill>
              </a:rPr>
              <a:t>Small Cell BH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7998389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00808"/>
            <a:ext cx="7918648" cy="4467200"/>
          </a:xfrm>
          <a:ln/>
        </p:spPr>
        <p:txBody>
          <a:bodyPr/>
          <a:lstStyle/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This presentation </a:t>
            </a:r>
            <a:r>
              <a:rPr lang="en-GB" dirty="0" smtClean="0">
                <a:solidFill>
                  <a:schemeClr val="tx1"/>
                </a:solidFill>
              </a:rPr>
              <a:t>describes a use case </a:t>
            </a:r>
            <a:r>
              <a:rPr lang="en-GB" dirty="0">
                <a:solidFill>
                  <a:schemeClr val="tx1"/>
                </a:solidFill>
              </a:rPr>
              <a:t>for </a:t>
            </a:r>
            <a:r>
              <a:rPr lang="en-GB" dirty="0" smtClean="0">
                <a:solidFill>
                  <a:schemeClr val="tx1"/>
                </a:solidFill>
              </a:rPr>
              <a:t>a mmWav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mesh network that can be applied in </a:t>
            </a:r>
            <a:r>
              <a:rPr lang="en-GB" dirty="0">
                <a:solidFill>
                  <a:schemeClr val="tx1"/>
                </a:solidFill>
              </a:rPr>
              <a:t>different </a:t>
            </a:r>
            <a:r>
              <a:rPr lang="en-GB" dirty="0" smtClean="0">
                <a:solidFill>
                  <a:schemeClr val="tx1"/>
                </a:solidFill>
              </a:rPr>
              <a:t>deployment scenarios:</a:t>
            </a:r>
            <a:endParaRPr lang="en-GB" dirty="0">
              <a:solidFill>
                <a:schemeClr val="tx1"/>
              </a:solidFill>
            </a:endParaRP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Broadband residential access (WTTB, WTTH)</a:t>
            </a: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i-Fi </a:t>
            </a:r>
            <a:r>
              <a:rPr lang="en-GB" dirty="0">
                <a:solidFill>
                  <a:schemeClr val="tx1"/>
                </a:solidFill>
              </a:rPr>
              <a:t>AP </a:t>
            </a:r>
            <a:r>
              <a:rPr lang="en-GB" dirty="0" smtClean="0">
                <a:solidFill>
                  <a:schemeClr val="tx1"/>
                </a:solidFill>
              </a:rPr>
              <a:t>&amp; Small cell backhaul </a:t>
            </a:r>
            <a:endParaRPr lang="en-GB" dirty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 smtClean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It is proposed to </a:t>
            </a:r>
            <a:r>
              <a:rPr lang="en-GB" dirty="0">
                <a:solidFill>
                  <a:schemeClr val="tx1"/>
                </a:solidFill>
              </a:rPr>
              <a:t>add a new usage </a:t>
            </a:r>
            <a:r>
              <a:rPr lang="en-GB" dirty="0" smtClean="0">
                <a:solidFill>
                  <a:schemeClr val="tx1"/>
                </a:solidFill>
              </a:rPr>
              <a:t>model on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 Mesh network to </a:t>
            </a:r>
            <a:r>
              <a:rPr lang="en-GB" dirty="0">
                <a:solidFill>
                  <a:schemeClr val="tx1"/>
                </a:solidFill>
              </a:rPr>
              <a:t>the 802.11ay use case document.  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Footer Placeholder 4"/>
          <p:cNvSpPr txBox="1">
            <a:spLocks/>
          </p:cNvSpPr>
          <p:nvPr/>
        </p:nvSpPr>
        <p:spPr bwMode="auto">
          <a:xfrm>
            <a:off x="5868144" y="5816803"/>
            <a:ext cx="1872208" cy="34850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H: Wireless Ro The Home</a:t>
            </a:r>
          </a:p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B: Wireless To The Building</a:t>
            </a:r>
            <a:endParaRPr lang="en-GB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: a) WTTH Acces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and distance between DNs and WTTH Home APs is &lt; 100 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mmWave WTTH DNs, which serve FTTH-like resid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roadban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for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dividu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mes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of Failur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.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transmissions in the mmWave Mesh network can be over multiple hops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addition to the Mesh backhaul, also a point-to-multipoint mmWave home access network is build. 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H DNs, which are placed at street poles (e.g. lamppost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 DNs serve the individual homes/ flats via a window AP at client side instead of deploying expensi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 network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he building branch an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WTTH radio links may work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 same or optional on different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frequency than the mmWave Mesh backhaul links. </a:t>
            </a:r>
          </a:p>
        </p:txBody>
      </p:sp>
      <p:graphicFrame>
        <p:nvGraphicFramePr>
          <p:cNvPr id="10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654071"/>
              </p:ext>
            </p:extLst>
          </p:nvPr>
        </p:nvGraphicFramePr>
        <p:xfrm>
          <a:off x="422040" y="3774640"/>
          <a:ext cx="4392488" cy="24444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555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128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150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r>
                        <a:rPr lang="en-US" altLang="zh-CN" sz="1000" b="0" noProof="0" dirty="0" smtClean="0"/>
                        <a:t>(operator example)</a:t>
                      </a:r>
                      <a:endParaRPr lang="en-US" altLang="zh-CN" sz="1000" b="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noProof="0" dirty="0" smtClean="0"/>
                        <a:t>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</a:t>
                      </a:r>
                    </a:p>
                    <a:p>
                      <a:pPr algn="ctr"/>
                      <a:r>
                        <a:rPr lang="en-US" altLang="zh-CN" sz="1000" b="1" noProof="0" dirty="0" smtClean="0"/>
                        <a:t>Home Access 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1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4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ome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50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</a:t>
                      </a:r>
                      <a:r>
                        <a:rPr lang="en-US" altLang="zh-CN" sz="1000" baseline="0" noProof="0" dirty="0" smtClean="0"/>
                        <a:t> / 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1 Gbps / Home AP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236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8019" y="685800"/>
            <a:ext cx="7770813" cy="1065213"/>
          </a:xfrm>
        </p:spPr>
        <p:txBody>
          <a:bodyPr/>
          <a:lstStyle/>
          <a:p>
            <a:r>
              <a:rPr lang="en-US" dirty="0" smtClean="0"/>
              <a:t>Use Case: b) WTTB Acces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484784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devic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(pole/wall) resp. &lt; 1000 m (rooftop) and distance between DNs at pole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ing APs is &lt; 100 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11ay mmWave WTTB DNs, which serve FTTH-like resid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roadban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for buildings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Mesh 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1 or more fiber-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of active radio equipment via Mesh topology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t centr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BH DN at “first” pole near the fiber-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ailure)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484784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backhaul and point-to-multipoint mmWave building access network. The transmissions in the mmWave Mesh network can be over multiple hops.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</a:t>
            </a: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B DNs, which are placed at street poles (e.g. lamppost) or at walls or at rooftops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DNs 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ame mmWa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equency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f street poles are used, the WTTB DNs serve the buildings via an outdoor-wall AP. In case of Wall-to-Wall or Roof-to-Roof mmWa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esh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, it serves at the same time as mmWave building access network without usage of additional street  poles. The WTTB use case requires an additional wireless or fixe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network, in contrast to WTTH, to serve the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individual flats. </a:t>
            </a:r>
          </a:p>
        </p:txBody>
      </p:sp>
      <p:graphicFrame>
        <p:nvGraphicFramePr>
          <p:cNvPr id="10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369671"/>
              </p:ext>
            </p:extLst>
          </p:nvPr>
        </p:nvGraphicFramePr>
        <p:xfrm>
          <a:off x="415304" y="3826536"/>
          <a:ext cx="4687256" cy="2590800"/>
        </p:xfrm>
        <a:graphic>
          <a:graphicData uri="http://schemas.openxmlformats.org/drawingml/2006/table">
            <a:tbl>
              <a:tblPr firstRow="1" bandRow="1"/>
              <a:tblGrid>
                <a:gridCol w="12308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650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240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752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186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noProof="0" dirty="0" smtClean="0"/>
                        <a:t>(operator example)</a:t>
                      </a:r>
                    </a:p>
                    <a:p>
                      <a:endParaRPr lang="en-US" altLang="zh-CN" sz="1000" b="1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noProof="0" dirty="0" smtClean="0"/>
                        <a:t>Building Access </a:t>
                      </a:r>
                      <a:endParaRPr lang="en-US" altLang="zh-CN" sz="1000" b="1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8601">
                <a:tc v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Street Pole-to-Pole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Wall-to-Wall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oof-to-Roof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dditional in case of </a:t>
                      </a:r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WBH at street pole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1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300 m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300m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1000 m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uilding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 / 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2 Gbps/ Building AP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186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186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541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devic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</a:t>
            </a:r>
            <a:r>
              <a:rPr lang="en-US" sz="1200" kern="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5G Small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cell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mobile radio) and </a:t>
            </a:r>
            <a:r>
              <a:rPr lang="en-US" sz="1200" kern="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Ps (e.g. 802.11ac) are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backhauled via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mmWave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Mesh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The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5G Small cell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nd Wi-Fi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P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offer mobile and nomadic services to the customers.</a:t>
            </a:r>
            <a:endParaRPr lang="en-US" sz="1200" kern="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1ay mmWav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 connects by optical fiber to 1 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Telc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cy 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of Failur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backhaul network. The transmissions in the mmWave Mesh network can be over multiple hops.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Small Cells and Wi-Fi APs, which are e.g. placed at street poles. Traffic of mobil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nomadic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ices will be aggregated and carried towards the mobile core. 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ub-6 GHz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 operation of the Smal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ells and Wi-Fi APs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imposes less challenges compared to WTTH/B to reach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mobile) users, however does not reach the capacity targets of the WTTH/B solutions. 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7770813" cy="1065213"/>
          </a:xfrm>
        </p:spPr>
        <p:txBody>
          <a:bodyPr/>
          <a:lstStyle/>
          <a:p>
            <a:r>
              <a:rPr lang="en-US" dirty="0" smtClean="0"/>
              <a:t>Use Case: c</a:t>
            </a:r>
            <a:r>
              <a:rPr lang="en-US" dirty="0"/>
              <a:t>) </a:t>
            </a:r>
            <a:r>
              <a:rPr lang="en-US" dirty="0" err="1"/>
              <a:t>WiFi</a:t>
            </a:r>
            <a:r>
              <a:rPr lang="en-US" dirty="0"/>
              <a:t> </a:t>
            </a:r>
            <a:r>
              <a:rPr lang="en-US" dirty="0" smtClean="0"/>
              <a:t>AP &amp; Small Cell BH</a:t>
            </a:r>
            <a:endParaRPr lang="en-US" dirty="0"/>
          </a:p>
        </p:txBody>
      </p:sp>
      <p:graphicFrame>
        <p:nvGraphicFramePr>
          <p:cNvPr id="1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165989"/>
              </p:ext>
            </p:extLst>
          </p:nvPr>
        </p:nvGraphicFramePr>
        <p:xfrm>
          <a:off x="422040" y="3611712"/>
          <a:ext cx="4392488" cy="27636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346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noProof="0" dirty="0" smtClean="0"/>
                        <a:t>(operator example)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466">
                <a:tc v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or 5G Small cells</a:t>
                      </a:r>
                      <a:endParaRPr lang="en-US" altLang="zh-CN" sz="1000" b="1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or Wi-Fi APs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 /</a:t>
                      </a:r>
                      <a:r>
                        <a:rPr lang="en-US" altLang="zh-CN" sz="1000" baseline="0" noProof="0" dirty="0" smtClean="0"/>
                        <a:t> link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34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0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1 Gbps 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/ AP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>
                          <a:solidFill>
                            <a:schemeClr val="tx1"/>
                          </a:solidFill>
                        </a:rPr>
                        <a:t>&gt; 300 Mbps / AP</a:t>
                      </a:r>
                      <a:endParaRPr lang="en-US" altLang="zh-CN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50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1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s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(e-t-e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mWave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st effort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98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B3165115-9078-433B-A278-1F5ED971F63A}" type="slidenum">
              <a:rPr lang="en-GB"/>
              <a:pPr/>
              <a:t>3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3792" y="1556792"/>
            <a:ext cx="8062664" cy="4689277"/>
          </a:xfrm>
        </p:spPr>
        <p:txBody>
          <a:bodyPr/>
          <a:lstStyle/>
          <a:p>
            <a:pPr>
              <a:buFont typeface="Times New Roman" pitchFamily="16" charset="0"/>
              <a:buChar char="•"/>
            </a:pP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Mesh networks exhibit a promising cost-efficient high-performance alternative and/or complement to conventional fixed access networks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comparison to usage model 8, focus is more on Mesh wireless backhaul and Fixed wireless access, beside Small cell &amp; </a:t>
            </a:r>
            <a:r>
              <a:rPr lang="en-GB" sz="2000" dirty="0" err="1" smtClean="0">
                <a:solidFill>
                  <a:schemeClr val="tx1"/>
                </a:solidFill>
              </a:rPr>
              <a:t>WiFi</a:t>
            </a:r>
            <a:r>
              <a:rPr lang="en-GB" sz="2000" dirty="0" smtClean="0">
                <a:solidFill>
                  <a:schemeClr val="tx1"/>
                </a:solidFill>
              </a:rPr>
              <a:t> AP BH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US" sz="2000" dirty="0"/>
              <a:t>Adaptive </a:t>
            </a:r>
            <a:r>
              <a:rPr lang="en-US" sz="2000" dirty="0" err="1"/>
              <a:t>PtMP</a:t>
            </a:r>
            <a:r>
              <a:rPr lang="en-US" sz="2000" dirty="0"/>
              <a:t> approach and Mesh functionality required, as changing LOS conditions for single links can cause problems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Mesh network architecture deployment is expected to lead to significant increase in operational efficiency and reliability. 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Existing standards cover aspects of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technology [1] and meshed wireless networks [2]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order to cover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Mesh networks, the </a:t>
            </a:r>
            <a:r>
              <a:rPr lang="en-GB" sz="2000" dirty="0">
                <a:solidFill>
                  <a:schemeClr val="tx1"/>
                </a:solidFill>
              </a:rPr>
              <a:t>11ay use case document [3] has </a:t>
            </a:r>
            <a:r>
              <a:rPr lang="en-GB" sz="2000" dirty="0" smtClean="0">
                <a:solidFill>
                  <a:schemeClr val="tx1"/>
                </a:solidFill>
              </a:rPr>
              <a:t>to be extended </a:t>
            </a:r>
            <a:r>
              <a:rPr lang="en-US" sz="2000" dirty="0">
                <a:solidFill>
                  <a:schemeClr val="tx1"/>
                </a:solidFill>
              </a:rPr>
              <a:t>by </a:t>
            </a:r>
            <a:r>
              <a:rPr lang="en-US" sz="2000" dirty="0" smtClean="0">
                <a:solidFill>
                  <a:schemeClr val="tx1"/>
                </a:solidFill>
              </a:rPr>
              <a:t>a respective usage model.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4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Service Provider Motivation for mmWave </a:t>
            </a:r>
            <a:r>
              <a:rPr lang="en-GB" dirty="0">
                <a:solidFill>
                  <a:schemeClr val="tx1"/>
                </a:solidFill>
              </a:rPr>
              <a:t>Mesh </a:t>
            </a:r>
            <a:r>
              <a:rPr lang="en-GB" dirty="0" smtClean="0">
                <a:solidFill>
                  <a:schemeClr val="tx1"/>
                </a:solidFill>
              </a:rPr>
              <a:t>Network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680520"/>
          </a:xfrm>
          <a:ln/>
        </p:spPr>
        <p:txBody>
          <a:bodyPr/>
          <a:lstStyle/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al fiber access networks provide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erformanc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ility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are very expensive and time consuming in their deployment.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sh networks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the potential to provid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advantages from provider perspective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to-marke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out speedup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ing at high coverage and low upfront cost 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other radio rollouts (e.g. SC, WLAN) 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ides that SPs are targeting to different aspects that can be also delivered by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Network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ive topologies (mesh, tree, point-to-point etc.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e and redundancy (e.g. for avoiding </a:t>
            </a:r>
            <a:r>
              <a:rPr lang="en-US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k failures / outages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of traffic and bandwidth/link utilization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assumed that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Network is able to cover typical customer bases of a few street cabinets (in terms of range, number of subscribers, and bandwidth).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5189" y="3284984"/>
            <a:ext cx="4031307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tle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no installation at customer site</a:t>
            </a:r>
          </a:p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coordination with various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</a:t>
            </a:r>
          </a:p>
        </p:txBody>
      </p:sp>
    </p:spTree>
    <p:extLst>
      <p:ext uri="{BB962C8B-B14F-4D97-AF65-F5344CB8AC3E}">
        <p14:creationId xmlns:p14="http://schemas.microsoft.com/office/powerpoint/2010/main" val="41380284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45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56" name="Picture 4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34" y="4287559"/>
            <a:ext cx="870299" cy="1158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3" name="Picture 3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142" y="5180471"/>
            <a:ext cx="832508" cy="1102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2" name="Picture 3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964" y="1983311"/>
            <a:ext cx="905257" cy="1126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5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683568" y="685800"/>
            <a:ext cx="7776864" cy="818921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 – </a:t>
            </a:r>
            <a:r>
              <a:rPr lang="en-GB" dirty="0" smtClean="0">
                <a:solidFill>
                  <a:schemeClr val="tx1"/>
                </a:solidFill>
              </a:rPr>
              <a:t>Area View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59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2691" y="5288395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162" name="Rectangle 162"/>
          <p:cNvSpPr>
            <a:spLocks noChangeArrowheads="1"/>
          </p:cNvSpPr>
          <p:nvPr/>
        </p:nvSpPr>
        <p:spPr bwMode="auto">
          <a:xfrm>
            <a:off x="2349201" y="2118771"/>
            <a:ext cx="453079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/>
              <a:t>Small </a:t>
            </a:r>
            <a:r>
              <a:rPr lang="en-US" altLang="de-DE" sz="1100" dirty="0" smtClean="0"/>
              <a:t>cell</a:t>
            </a:r>
            <a:endParaRPr lang="en-US" altLang="de-DE" sz="1100" dirty="0"/>
          </a:p>
        </p:txBody>
      </p:sp>
      <p:sp>
        <p:nvSpPr>
          <p:cNvPr id="163" name="TextBox 94"/>
          <p:cNvSpPr txBox="1">
            <a:spLocks noChangeArrowheads="1"/>
          </p:cNvSpPr>
          <p:nvPr/>
        </p:nvSpPr>
        <p:spPr bwMode="auto">
          <a:xfrm>
            <a:off x="683568" y="2839348"/>
            <a:ext cx="416808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Wi-Fi AP</a:t>
            </a:r>
            <a:endParaRPr lang="en-US" altLang="de-DE" sz="1100" dirty="0"/>
          </a:p>
        </p:txBody>
      </p:sp>
      <p:sp>
        <p:nvSpPr>
          <p:cNvPr id="165" name="TextBox 94"/>
          <p:cNvSpPr txBox="1">
            <a:spLocks noChangeArrowheads="1"/>
          </p:cNvSpPr>
          <p:nvPr/>
        </p:nvSpPr>
        <p:spPr bwMode="auto">
          <a:xfrm>
            <a:off x="6903819" y="2955727"/>
            <a:ext cx="671761" cy="304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</a:t>
            </a:r>
            <a:br>
              <a:rPr lang="en-US" altLang="de-DE" sz="1100" dirty="0" smtClean="0"/>
            </a:br>
            <a:r>
              <a:rPr lang="en-US" altLang="de-DE" sz="1100" dirty="0" smtClean="0"/>
              <a:t>(cabinet)</a:t>
            </a:r>
            <a:endParaRPr lang="en-US" altLang="de-DE" sz="1100" dirty="0"/>
          </a:p>
        </p:txBody>
      </p:sp>
      <p:pic>
        <p:nvPicPr>
          <p:cNvPr id="168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345" y="5799186"/>
            <a:ext cx="441880" cy="41428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69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436" y="1700808"/>
            <a:ext cx="285158" cy="267440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1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14" y="196890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2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794" y="1824386"/>
            <a:ext cx="384857" cy="360944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4" name="Grafik 17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732" y="2072967"/>
            <a:ext cx="124905" cy="483326"/>
          </a:xfrm>
          <a:prstGeom prst="rect">
            <a:avLst/>
          </a:prstGeom>
        </p:spPr>
      </p:pic>
      <p:pic>
        <p:nvPicPr>
          <p:cNvPr id="175" name="Grafik 174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008" y="2707159"/>
            <a:ext cx="124905" cy="483326"/>
          </a:xfrm>
          <a:prstGeom prst="rect">
            <a:avLst/>
          </a:prstGeom>
        </p:spPr>
      </p:pic>
      <p:pic>
        <p:nvPicPr>
          <p:cNvPr id="17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2752034" y="2173808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78" name="Gleichschenkliges Dreieck 177"/>
          <p:cNvSpPr/>
          <p:nvPr/>
        </p:nvSpPr>
        <p:spPr>
          <a:xfrm rot="4800619">
            <a:off x="1467804" y="4255069"/>
            <a:ext cx="693944" cy="847916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0" name="Ellipse 179"/>
          <p:cNvSpPr/>
          <p:nvPr/>
        </p:nvSpPr>
        <p:spPr>
          <a:xfrm rot="15613648">
            <a:off x="943634" y="4538054"/>
            <a:ext cx="753593" cy="432000"/>
          </a:xfrm>
          <a:prstGeom prst="ellips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1" name="Textfeld 6"/>
          <p:cNvSpPr txBox="1">
            <a:spLocks noChangeArrowheads="1"/>
          </p:cNvSpPr>
          <p:nvPr/>
        </p:nvSpPr>
        <p:spPr bwMode="auto">
          <a:xfrm>
            <a:off x="1352133" y="465479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pic>
        <p:nvPicPr>
          <p:cNvPr id="184" name="Grafik 18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974" y="4415407"/>
            <a:ext cx="124905" cy="483326"/>
          </a:xfrm>
          <a:prstGeom prst="rect">
            <a:avLst/>
          </a:prstGeom>
        </p:spPr>
      </p:pic>
      <p:sp>
        <p:nvSpPr>
          <p:cNvPr id="186" name="Rechteck 185"/>
          <p:cNvSpPr/>
          <p:nvPr/>
        </p:nvSpPr>
        <p:spPr>
          <a:xfrm>
            <a:off x="3608751" y="4573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187" name="Grafik 186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77" y="4428770"/>
            <a:ext cx="124905" cy="483326"/>
          </a:xfrm>
          <a:prstGeom prst="rect">
            <a:avLst/>
          </a:prstGeom>
        </p:spPr>
      </p:pic>
      <p:sp>
        <p:nvSpPr>
          <p:cNvPr id="189" name="Textfeld 6"/>
          <p:cNvSpPr txBox="1">
            <a:spLocks noChangeArrowheads="1"/>
          </p:cNvSpPr>
          <p:nvPr/>
        </p:nvSpPr>
        <p:spPr bwMode="auto">
          <a:xfrm rot="3582353">
            <a:off x="3819974" y="5024765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1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782984" y="4506844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92" name="Rectangle 162"/>
          <p:cNvSpPr>
            <a:spLocks noChangeArrowheads="1"/>
          </p:cNvSpPr>
          <p:nvPr/>
        </p:nvSpPr>
        <p:spPr bwMode="auto">
          <a:xfrm>
            <a:off x="4643059" y="4731496"/>
            <a:ext cx="400677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Small </a:t>
            </a:r>
            <a:r>
              <a:rPr lang="en-US" altLang="de-DE" sz="1200" dirty="0" smtClean="0"/>
              <a:t>cell</a:t>
            </a:r>
            <a:endParaRPr lang="en-US" altLang="de-DE" sz="1200" dirty="0"/>
          </a:p>
        </p:txBody>
      </p:sp>
      <p:pic>
        <p:nvPicPr>
          <p:cNvPr id="195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099" y="221767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202" name="Grafik 201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008736"/>
            <a:ext cx="124905" cy="483326"/>
          </a:xfrm>
          <a:prstGeom prst="rect">
            <a:avLst/>
          </a:prstGeom>
        </p:spPr>
      </p:pic>
      <p:pic>
        <p:nvPicPr>
          <p:cNvPr id="206" name="Grafik 20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552" y="3011217"/>
            <a:ext cx="124905" cy="483326"/>
          </a:xfrm>
          <a:prstGeom prst="rect">
            <a:avLst/>
          </a:prstGeom>
        </p:spPr>
      </p:pic>
      <p:sp>
        <p:nvSpPr>
          <p:cNvPr id="316" name="Rechteck 315"/>
          <p:cNvSpPr/>
          <p:nvPr/>
        </p:nvSpPr>
        <p:spPr>
          <a:xfrm>
            <a:off x="4182691" y="565549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20" name="Grafik 319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426" y="2017338"/>
            <a:ext cx="124905" cy="483326"/>
          </a:xfrm>
          <a:prstGeom prst="rect">
            <a:avLst/>
          </a:prstGeom>
        </p:spPr>
      </p:pic>
      <p:cxnSp>
        <p:nvCxnSpPr>
          <p:cNvPr id="322" name="Gerade Verbindung 321"/>
          <p:cNvCxnSpPr/>
          <p:nvPr/>
        </p:nvCxnSpPr>
        <p:spPr>
          <a:xfrm>
            <a:off x="107504" y="3623319"/>
            <a:ext cx="33524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4" name="Gerade Verbindung 323"/>
          <p:cNvCxnSpPr/>
          <p:nvPr/>
        </p:nvCxnSpPr>
        <p:spPr>
          <a:xfrm>
            <a:off x="3694742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5" name="Gerade Verbindung 324"/>
          <p:cNvCxnSpPr/>
          <p:nvPr/>
        </p:nvCxnSpPr>
        <p:spPr>
          <a:xfrm>
            <a:off x="2211024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1" name="Gerade Verbindung 330"/>
          <p:cNvCxnSpPr/>
          <p:nvPr/>
        </p:nvCxnSpPr>
        <p:spPr>
          <a:xfrm>
            <a:off x="2979015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2" name="Gerade Verbindung 331"/>
          <p:cNvCxnSpPr/>
          <p:nvPr/>
        </p:nvCxnSpPr>
        <p:spPr>
          <a:xfrm>
            <a:off x="155201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1" name="Gerade Verbindung 340"/>
          <p:cNvCxnSpPr/>
          <p:nvPr/>
        </p:nvCxnSpPr>
        <p:spPr>
          <a:xfrm>
            <a:off x="4369088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2" name="Gerade Verbindung 341"/>
          <p:cNvCxnSpPr/>
          <p:nvPr/>
        </p:nvCxnSpPr>
        <p:spPr>
          <a:xfrm>
            <a:off x="5087436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3" name="Gerade Verbindung 342"/>
          <p:cNvCxnSpPr/>
          <p:nvPr/>
        </p:nvCxnSpPr>
        <p:spPr>
          <a:xfrm>
            <a:off x="169173" y="3871132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4" name="Gerade Verbindung 343"/>
          <p:cNvCxnSpPr/>
          <p:nvPr/>
        </p:nvCxnSpPr>
        <p:spPr>
          <a:xfrm>
            <a:off x="843529" y="3872984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5" name="Gerade Verbindung 344"/>
          <p:cNvCxnSpPr/>
          <p:nvPr/>
        </p:nvCxnSpPr>
        <p:spPr>
          <a:xfrm>
            <a:off x="107504" y="4111395"/>
            <a:ext cx="7665464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6" name="Gerade Verbindung 345"/>
          <p:cNvCxnSpPr/>
          <p:nvPr/>
        </p:nvCxnSpPr>
        <p:spPr>
          <a:xfrm>
            <a:off x="644014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7" name="Gerade Verbindung 346"/>
          <p:cNvCxnSpPr/>
          <p:nvPr/>
        </p:nvCxnSpPr>
        <p:spPr>
          <a:xfrm>
            <a:off x="7208131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8" name="Gerade Verbindung 347"/>
          <p:cNvCxnSpPr/>
          <p:nvPr/>
        </p:nvCxnSpPr>
        <p:spPr>
          <a:xfrm>
            <a:off x="5781126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9" name="Gerade Verbindung 348"/>
          <p:cNvCxnSpPr/>
          <p:nvPr/>
        </p:nvCxnSpPr>
        <p:spPr>
          <a:xfrm>
            <a:off x="4118475" y="3623319"/>
            <a:ext cx="365449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0" name="Gerade Verbindung 349"/>
          <p:cNvCxnSpPr/>
          <p:nvPr/>
        </p:nvCxnSpPr>
        <p:spPr>
          <a:xfrm>
            <a:off x="3457923" y="1700808"/>
            <a:ext cx="2057" cy="1927805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1" name="Gerade Verbindung 350"/>
          <p:cNvCxnSpPr/>
          <p:nvPr/>
        </p:nvCxnSpPr>
        <p:spPr>
          <a:xfrm>
            <a:off x="4132130" y="1700808"/>
            <a:ext cx="203" cy="192065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2" name="Gerade Verbindung 351"/>
          <p:cNvCxnSpPr/>
          <p:nvPr/>
        </p:nvCxnSpPr>
        <p:spPr>
          <a:xfrm>
            <a:off x="3803924" y="2051154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3" name="Gerade Verbindung 352"/>
          <p:cNvCxnSpPr/>
          <p:nvPr/>
        </p:nvCxnSpPr>
        <p:spPr>
          <a:xfrm>
            <a:off x="3812142" y="2759223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pic>
        <p:nvPicPr>
          <p:cNvPr id="354" name="Grafik 35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495" y="5199896"/>
            <a:ext cx="124905" cy="483326"/>
          </a:xfrm>
          <a:prstGeom prst="rect">
            <a:avLst/>
          </a:prstGeom>
        </p:spPr>
      </p:pic>
      <p:pic>
        <p:nvPicPr>
          <p:cNvPr id="356" name="Grafik 35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468" y="2369738"/>
            <a:ext cx="124905" cy="483326"/>
          </a:xfrm>
          <a:prstGeom prst="rect">
            <a:avLst/>
          </a:prstGeom>
        </p:spPr>
      </p:pic>
      <p:sp>
        <p:nvSpPr>
          <p:cNvPr id="371" name="Textfeld 6"/>
          <p:cNvSpPr txBox="1">
            <a:spLocks noChangeArrowheads="1"/>
          </p:cNvSpPr>
          <p:nvPr/>
        </p:nvSpPr>
        <p:spPr bwMode="auto">
          <a:xfrm rot="18575795">
            <a:off x="4419084" y="2668823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Gleichschenkliges Dreieck 371"/>
          <p:cNvSpPr/>
          <p:nvPr/>
        </p:nvSpPr>
        <p:spPr>
          <a:xfrm rot="2134019">
            <a:off x="1551845" y="4443345"/>
            <a:ext cx="493098" cy="1450261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73" name="Grafik 372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481" y="4411919"/>
            <a:ext cx="124905" cy="483326"/>
          </a:xfrm>
          <a:prstGeom prst="rect">
            <a:avLst/>
          </a:prstGeom>
        </p:spPr>
      </p:pic>
      <p:pic>
        <p:nvPicPr>
          <p:cNvPr id="374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="" xmlns:ns1="http://schemas.openxmlformats.org/officeDocument/2006/extended-properties" xmlns:vt="http://schemas.openxmlformats.org/officeDocument/2006/docPropsVTypes" xmlns:a14="http://schemas.microsoft.com/office/drawing/2010/main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="" xmlns:ns1="http://schemas.openxmlformats.org/officeDocument/2006/extended-properties" xmlns:vt="http://schemas.openxmlformats.org/officeDocument/2006/docPropsVTypes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06" y="5597025"/>
            <a:ext cx="584864" cy="548342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375" name="Textfeld 6"/>
          <p:cNvSpPr txBox="1">
            <a:spLocks noChangeArrowheads="1"/>
          </p:cNvSpPr>
          <p:nvPr/>
        </p:nvSpPr>
        <p:spPr bwMode="auto">
          <a:xfrm>
            <a:off x="1335488" y="543875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cxnSp>
        <p:nvCxnSpPr>
          <p:cNvPr id="376" name="Line 35"/>
          <p:cNvCxnSpPr>
            <a:endCxn id="318" idx="2"/>
          </p:cNvCxnSpPr>
          <p:nvPr/>
        </p:nvCxnSpPr>
        <p:spPr>
          <a:xfrm flipH="1" flipV="1">
            <a:off x="6290637" y="3515341"/>
            <a:ext cx="1809755" cy="7106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</a:ln>
        </p:spPr>
      </p:cxnSp>
      <p:grpSp>
        <p:nvGrpSpPr>
          <p:cNvPr id="377" name="Group 5"/>
          <p:cNvGrpSpPr>
            <a:grpSpLocks/>
          </p:cNvGrpSpPr>
          <p:nvPr/>
        </p:nvGrpSpPr>
        <p:grpSpPr bwMode="auto">
          <a:xfrm>
            <a:off x="7127907" y="3286198"/>
            <a:ext cx="201612" cy="265113"/>
            <a:chOff x="632" y="1958"/>
            <a:chExt cx="220" cy="389"/>
          </a:xfrm>
        </p:grpSpPr>
        <p:sp>
          <p:nvSpPr>
            <p:cNvPr id="378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79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0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1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466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467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468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69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0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71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521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2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3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4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5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6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7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8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9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0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1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2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3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4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72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3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4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5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6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7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8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9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0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1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2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3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4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85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86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507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8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9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0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1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2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3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4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5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6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7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8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9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0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87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8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9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0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1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2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3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4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5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6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7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8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99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0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1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502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3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4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5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6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82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3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401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2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3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4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5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6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7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8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9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0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1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2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3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4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5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6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7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8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9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0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1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2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3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4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5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6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7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8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9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0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1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2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3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4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5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6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7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8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9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0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1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2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3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4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5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6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7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8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9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0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1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2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3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4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5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6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7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8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9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0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1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2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3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464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5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4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5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6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389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392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3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4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5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6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7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8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9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00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390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1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8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sp>
        <p:nvSpPr>
          <p:cNvPr id="536" name="TextBox 94"/>
          <p:cNvSpPr txBox="1">
            <a:spLocks noChangeArrowheads="1"/>
          </p:cNvSpPr>
          <p:nvPr/>
        </p:nvSpPr>
        <p:spPr bwMode="auto">
          <a:xfrm>
            <a:off x="5387592" y="5559778"/>
            <a:ext cx="452629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Wi-Fi-AP</a:t>
            </a:r>
          </a:p>
        </p:txBody>
      </p:sp>
      <p:cxnSp>
        <p:nvCxnSpPr>
          <p:cNvPr id="537" name="Gerade Verbindung 536"/>
          <p:cNvCxnSpPr>
            <a:stCxn id="535" idx="2"/>
            <a:endCxn id="552" idx="2"/>
          </p:cNvCxnSpPr>
          <p:nvPr/>
        </p:nvCxnSpPr>
        <p:spPr bwMode="auto">
          <a:xfrm flipH="1">
            <a:off x="5098769" y="3271539"/>
            <a:ext cx="1191867" cy="144053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8" name="Gerade Verbindung 537"/>
          <p:cNvCxnSpPr>
            <a:stCxn id="535" idx="1"/>
            <a:endCxn id="564" idx="3"/>
          </p:cNvCxnSpPr>
          <p:nvPr/>
        </p:nvCxnSpPr>
        <p:spPr bwMode="auto">
          <a:xfrm flipH="1" flipV="1">
            <a:off x="4532618" y="3228649"/>
            <a:ext cx="1716343" cy="121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9" name="Gerade Verbindung 538"/>
          <p:cNvCxnSpPr>
            <a:stCxn id="540" idx="2"/>
            <a:endCxn id="535" idx="2"/>
          </p:cNvCxnSpPr>
          <p:nvPr/>
        </p:nvCxnSpPr>
        <p:spPr bwMode="auto">
          <a:xfrm flipV="1">
            <a:off x="5891778" y="3271539"/>
            <a:ext cx="398858" cy="21866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0" name="Rechteck 539"/>
          <p:cNvSpPr/>
          <p:nvPr/>
        </p:nvSpPr>
        <p:spPr>
          <a:xfrm>
            <a:off x="5850103" y="5374877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1" name="Gerade Verbindung 540"/>
          <p:cNvCxnSpPr>
            <a:stCxn id="564" idx="1"/>
            <a:endCxn id="543" idx="2"/>
          </p:cNvCxnSpPr>
          <p:nvPr/>
        </p:nvCxnSpPr>
        <p:spPr bwMode="auto">
          <a:xfrm flipH="1" flipV="1">
            <a:off x="3065635" y="2409726"/>
            <a:ext cx="1383633" cy="818923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2" name="Rechteck 541"/>
          <p:cNvSpPr/>
          <p:nvPr/>
        </p:nvSpPr>
        <p:spPr>
          <a:xfrm>
            <a:off x="1318703" y="291586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3023960" y="2326376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44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86492" y="2153717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5" name="Gerade Verbindung 544"/>
          <p:cNvCxnSpPr>
            <a:stCxn id="542" idx="3"/>
            <a:endCxn id="543" idx="2"/>
          </p:cNvCxnSpPr>
          <p:nvPr/>
        </p:nvCxnSpPr>
        <p:spPr bwMode="auto">
          <a:xfrm flipV="1">
            <a:off x="1402053" y="2409726"/>
            <a:ext cx="1663582" cy="54780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6" name="Gerade Verbindung 545"/>
          <p:cNvCxnSpPr>
            <a:stCxn id="548" idx="3"/>
            <a:endCxn id="543" idx="2"/>
          </p:cNvCxnSpPr>
          <p:nvPr/>
        </p:nvCxnSpPr>
        <p:spPr bwMode="auto">
          <a:xfrm flipV="1">
            <a:off x="2225608" y="2409726"/>
            <a:ext cx="840027" cy="220218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7" name="Gerade Verbindung 546"/>
          <p:cNvCxnSpPr>
            <a:stCxn id="542" idx="3"/>
            <a:endCxn id="548" idx="2"/>
          </p:cNvCxnSpPr>
          <p:nvPr/>
        </p:nvCxnSpPr>
        <p:spPr bwMode="auto">
          <a:xfrm>
            <a:off x="1402053" y="2957535"/>
            <a:ext cx="781880" cy="169604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8" name="Rechteck 547"/>
          <p:cNvSpPr/>
          <p:nvPr/>
        </p:nvSpPr>
        <p:spPr>
          <a:xfrm>
            <a:off x="2142258" y="4570232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9" name="Gerade Verbindung 548"/>
          <p:cNvCxnSpPr>
            <a:stCxn id="548" idx="3"/>
            <a:endCxn id="186" idx="1"/>
          </p:cNvCxnSpPr>
          <p:nvPr/>
        </p:nvCxnSpPr>
        <p:spPr bwMode="auto">
          <a:xfrm>
            <a:off x="2225608" y="4611907"/>
            <a:ext cx="1383143" cy="34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0" name="Gerade Verbindung 549"/>
          <p:cNvCxnSpPr>
            <a:stCxn id="186" idx="3"/>
            <a:endCxn id="564" idx="1"/>
          </p:cNvCxnSpPr>
          <p:nvPr/>
        </p:nvCxnSpPr>
        <p:spPr bwMode="auto">
          <a:xfrm flipV="1">
            <a:off x="3692101" y="3228649"/>
            <a:ext cx="757167" cy="138674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1" name="Gerade Verbindung 550"/>
          <p:cNvCxnSpPr>
            <a:stCxn id="191" idx="0"/>
            <a:endCxn id="564" idx="3"/>
          </p:cNvCxnSpPr>
          <p:nvPr/>
        </p:nvCxnSpPr>
        <p:spPr bwMode="auto">
          <a:xfrm flipH="1" flipV="1">
            <a:off x="4532618" y="3228649"/>
            <a:ext cx="559711" cy="148700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52" name="Rechteck 551"/>
          <p:cNvSpPr/>
          <p:nvPr/>
        </p:nvSpPr>
        <p:spPr>
          <a:xfrm>
            <a:off x="5057094" y="4628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5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21132" y="4487415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4" name="Gerade Verbindung 553"/>
          <p:cNvCxnSpPr>
            <a:stCxn id="540" idx="1"/>
            <a:endCxn id="191" idx="0"/>
          </p:cNvCxnSpPr>
          <p:nvPr/>
        </p:nvCxnSpPr>
        <p:spPr bwMode="auto">
          <a:xfrm flipH="1" flipV="1">
            <a:off x="5092329" y="4715657"/>
            <a:ext cx="757774" cy="70089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5" name="Gerade Verbindung 554"/>
          <p:cNvCxnSpPr>
            <a:stCxn id="552" idx="1"/>
            <a:endCxn id="186" idx="3"/>
          </p:cNvCxnSpPr>
          <p:nvPr/>
        </p:nvCxnSpPr>
        <p:spPr bwMode="auto">
          <a:xfrm flipH="1" flipV="1">
            <a:off x="3692101" y="4615395"/>
            <a:ext cx="1364993" cy="5500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pic>
        <p:nvPicPr>
          <p:cNvPr id="556" name="Grafik 555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5891085" y="5178556"/>
            <a:ext cx="320043" cy="323743"/>
          </a:xfrm>
          <a:prstGeom prst="rect">
            <a:avLst/>
          </a:prstGeom>
        </p:spPr>
      </p:pic>
      <p:pic>
        <p:nvPicPr>
          <p:cNvPr id="557" name="Grafik 556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5571207" y="5186698"/>
            <a:ext cx="320043" cy="323743"/>
          </a:xfrm>
          <a:prstGeom prst="rect">
            <a:avLst/>
          </a:prstGeom>
        </p:spPr>
      </p:pic>
      <p:pic>
        <p:nvPicPr>
          <p:cNvPr id="558" name="Grafik 557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1364776" y="2721426"/>
            <a:ext cx="320043" cy="323743"/>
          </a:xfrm>
          <a:prstGeom prst="rect">
            <a:avLst/>
          </a:prstGeom>
        </p:spPr>
      </p:pic>
      <p:pic>
        <p:nvPicPr>
          <p:cNvPr id="559" name="Grafik 558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1044898" y="2729568"/>
            <a:ext cx="320043" cy="323743"/>
          </a:xfrm>
          <a:prstGeom prst="rect">
            <a:avLst/>
          </a:prstGeom>
        </p:spPr>
      </p:pic>
      <p:sp>
        <p:nvSpPr>
          <p:cNvPr id="560" name="Abgerundete rechteckige Legende 559"/>
          <p:cNvSpPr/>
          <p:nvPr/>
        </p:nvSpPr>
        <p:spPr>
          <a:xfrm>
            <a:off x="2774995" y="5777706"/>
            <a:ext cx="694547" cy="413739"/>
          </a:xfrm>
          <a:prstGeom prst="wedgeRoundRectCallout">
            <a:avLst>
              <a:gd name="adj1" fmla="val -70692"/>
              <a:gd name="adj2" fmla="val -67664"/>
              <a:gd name="adj3" fmla="val 16667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0" bIns="18000" rtlCol="0" anchor="t"/>
          <a:lstStyle/>
          <a:p>
            <a:pPr algn="ctr">
              <a:lnSpc>
                <a:spcPct val="80000"/>
              </a:lnSpc>
            </a:pPr>
            <a:r>
              <a:rPr lang="en-GB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: Wireless </a:t>
            </a:r>
            <a:r>
              <a:rPr lang="en-GB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1" name="Textfeld 6"/>
          <p:cNvSpPr txBox="1">
            <a:spLocks noChangeArrowheads="1"/>
          </p:cNvSpPr>
          <p:nvPr/>
        </p:nvSpPr>
        <p:spPr bwMode="auto">
          <a:xfrm rot="18901557">
            <a:off x="2916146" y="4898926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2" name="Abgerundetes Rechteck 1049"/>
          <p:cNvSpPr/>
          <p:nvPr/>
        </p:nvSpPr>
        <p:spPr>
          <a:xfrm>
            <a:off x="4283968" y="5727176"/>
            <a:ext cx="321245" cy="144020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none" lIns="0" tIns="0" rIns="0" bIns="0" rtlCol="0" anchor="ctr" upright="1">
            <a:noAutofit/>
          </a:bodyPr>
          <a:lstStyle/>
          <a:p>
            <a:pPr algn="ctr" defTabSz="91264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</a:pPr>
            <a:r>
              <a:rPr lang="de-DE" sz="9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W</a:t>
            </a:r>
          </a:p>
        </p:txBody>
      </p:sp>
      <p:sp>
        <p:nvSpPr>
          <p:cNvPr id="563" name="Textfeld 6"/>
          <p:cNvSpPr txBox="1">
            <a:spLocks noChangeArrowheads="1"/>
          </p:cNvSpPr>
          <p:nvPr/>
        </p:nvSpPr>
        <p:spPr bwMode="auto">
          <a:xfrm>
            <a:off x="6516215" y="4310756"/>
            <a:ext cx="2255347" cy="20705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0" bIns="3600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algn="l" defTabSz="503486">
              <a:lnSpc>
                <a:spcPct val="90000"/>
              </a:lnSpc>
              <a:defRPr/>
            </a:pPr>
            <a:r>
              <a:rPr lang="en-GB" altLang="en-US" sz="11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ireless Backhaul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60 GHz narrow beam system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 management and control per mmWave mesh access area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protocol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re-routing over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s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-alignment installations via adaptive beamforming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cy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ctive equipment at “first” pole next to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via connections to 2 or more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s</a:t>
            </a:r>
            <a:endParaRPr lang="en-GB" altLang="en-US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link degradation and outage recognition w/ failure localisation</a:t>
            </a:r>
            <a:endParaRPr lang="en-GB" altLang="en-US" sz="11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4" name="Rechteck 563"/>
          <p:cNvSpPr/>
          <p:nvPr/>
        </p:nvSpPr>
        <p:spPr>
          <a:xfrm>
            <a:off x="4449268" y="3186974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67" name="Rectangle 162"/>
          <p:cNvSpPr>
            <a:spLocks noChangeArrowheads="1"/>
          </p:cNvSpPr>
          <p:nvPr/>
        </p:nvSpPr>
        <p:spPr bwMode="auto">
          <a:xfrm>
            <a:off x="5292081" y="4742257"/>
            <a:ext cx="993520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 c) </a:t>
            </a:r>
            <a:r>
              <a:rPr lang="en-US" altLang="de-DE" sz="12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iFi</a:t>
            </a:r>
            <a:r>
              <a:rPr lang="en-US" alt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AP / SC</a:t>
            </a:r>
            <a:endParaRPr lang="en-US" altLang="de-DE" sz="1200" b="1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568" name="Rectangle 162"/>
          <p:cNvSpPr>
            <a:spLocks noChangeArrowheads="1"/>
          </p:cNvSpPr>
          <p:nvPr/>
        </p:nvSpPr>
        <p:spPr bwMode="auto">
          <a:xfrm>
            <a:off x="2155366" y="3714731"/>
            <a:ext cx="3784786" cy="311606"/>
          </a:xfrm>
          <a:prstGeom prst="rect">
            <a:avLst/>
          </a:prstGeom>
          <a:solidFill>
            <a:srgbClr val="FFCC99">
              <a:alpha val="70000"/>
            </a:srgbClr>
          </a:solidFill>
          <a:ln>
            <a:noFill/>
          </a:ln>
          <a:extLst/>
        </p:spPr>
        <p:txBody>
          <a:bodyPr wrap="square" lIns="72000" tIns="72000" rIns="72000" bIns="7200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/>
              <a:t>Focus on </a:t>
            </a:r>
            <a:r>
              <a:rPr lang="en-US" altLang="de-DE" sz="1200" dirty="0" smtClean="0">
                <a:solidFill>
                  <a:schemeClr val="tx1"/>
                </a:solidFill>
              </a:rPr>
              <a:t>u</a:t>
            </a:r>
            <a:r>
              <a:rPr lang="en-US" altLang="de-DE" sz="1200" dirty="0" smtClean="0"/>
              <a:t>se case specific Mesh WBH requirements</a:t>
            </a:r>
            <a:endParaRPr lang="en-US" altLang="de-DE" sz="1200" dirty="0"/>
          </a:p>
        </p:txBody>
      </p:sp>
      <p:sp>
        <p:nvSpPr>
          <p:cNvPr id="312" name="Textfeld 6"/>
          <p:cNvSpPr txBox="1">
            <a:spLocks noChangeArrowheads="1"/>
          </p:cNvSpPr>
          <p:nvPr/>
        </p:nvSpPr>
        <p:spPr bwMode="auto">
          <a:xfrm rot="17540008">
            <a:off x="2306866" y="3032572"/>
            <a:ext cx="815202" cy="16984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BH</a:t>
            </a:r>
            <a:endParaRPr lang="en-GB" altLang="en-US" sz="1100" kern="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" name="TextBox 94"/>
          <p:cNvSpPr txBox="1">
            <a:spLocks noChangeArrowheads="1"/>
          </p:cNvSpPr>
          <p:nvPr/>
        </p:nvSpPr>
        <p:spPr bwMode="auto">
          <a:xfrm>
            <a:off x="6378983" y="3352967"/>
            <a:ext cx="637168" cy="15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solidFill>
                  <a:srgbClr val="FF0000"/>
                </a:solidFill>
              </a:rPr>
              <a:t>fiber</a:t>
            </a:r>
            <a:endParaRPr lang="en-US" altLang="de-DE" sz="1100" dirty="0">
              <a:solidFill>
                <a:srgbClr val="FF0000"/>
              </a:solidFill>
            </a:endParaRPr>
          </a:p>
        </p:txBody>
      </p:sp>
      <p:sp>
        <p:nvSpPr>
          <p:cNvPr id="319" name="Freeform 11"/>
          <p:cNvSpPr>
            <a:spLocks/>
          </p:cNvSpPr>
          <p:nvPr/>
        </p:nvSpPr>
        <p:spPr bwMode="auto">
          <a:xfrm>
            <a:off x="7956376" y="1954932"/>
            <a:ext cx="815187" cy="1916200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</a:t>
            </a:r>
          </a:p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  <a:endParaRPr lang="en-US" sz="14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8001879" y="3997841"/>
            <a:ext cx="106679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323" name="TextBox 94"/>
          <p:cNvSpPr txBox="1">
            <a:spLocks noChangeArrowheads="1"/>
          </p:cNvSpPr>
          <p:nvPr/>
        </p:nvSpPr>
        <p:spPr bwMode="auto">
          <a:xfrm>
            <a:off x="8145896" y="3933056"/>
            <a:ext cx="9216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AP</a:t>
            </a:r>
          </a:p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link</a:t>
            </a:r>
            <a:endParaRPr lang="en-US" altLang="de-DE" sz="1100" dirty="0">
              <a:latin typeface="Tele-GroteskNor" pitchFamily="2" charset="0"/>
            </a:endParaRPr>
          </a:p>
        </p:txBody>
      </p:sp>
      <p:cxnSp>
        <p:nvCxnSpPr>
          <p:cNvPr id="326" name="Gerade Verbindung 325"/>
          <p:cNvCxnSpPr/>
          <p:nvPr/>
        </p:nvCxnSpPr>
        <p:spPr bwMode="auto">
          <a:xfrm>
            <a:off x="7949176" y="4191832"/>
            <a:ext cx="180772" cy="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327" name="TextBox 94"/>
          <p:cNvSpPr txBox="1">
            <a:spLocks noChangeArrowheads="1"/>
          </p:cNvSpPr>
          <p:nvPr/>
        </p:nvSpPr>
        <p:spPr bwMode="auto">
          <a:xfrm>
            <a:off x="167712" y="3271088"/>
            <a:ext cx="714716" cy="3323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 </a:t>
            </a:r>
            <a:r>
              <a:rPr lang="en-US" altLang="de-DE" sz="800" dirty="0" smtClean="0"/>
              <a:t>(to Provider Network)</a:t>
            </a:r>
            <a:endParaRPr lang="en-US" altLang="de-DE" sz="800" dirty="0"/>
          </a:p>
        </p:txBody>
      </p:sp>
      <p:cxnSp>
        <p:nvCxnSpPr>
          <p:cNvPr id="3" name="Gewinkelte Verbindung 2"/>
          <p:cNvCxnSpPr>
            <a:stCxn id="334" idx="1"/>
            <a:endCxn id="175" idx="2"/>
          </p:cNvCxnSpPr>
          <p:nvPr/>
        </p:nvCxnSpPr>
        <p:spPr bwMode="auto">
          <a:xfrm flipV="1">
            <a:off x="927256" y="3190485"/>
            <a:ext cx="435205" cy="309914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29" name="Group 5"/>
          <p:cNvGrpSpPr>
            <a:grpSpLocks/>
          </p:cNvGrpSpPr>
          <p:nvPr/>
        </p:nvGrpSpPr>
        <p:grpSpPr bwMode="auto">
          <a:xfrm>
            <a:off x="927256" y="3293215"/>
            <a:ext cx="201612" cy="265113"/>
            <a:chOff x="632" y="1958"/>
            <a:chExt cx="220" cy="389"/>
          </a:xfrm>
        </p:grpSpPr>
        <p:sp>
          <p:nvSpPr>
            <p:cNvPr id="330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3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4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5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647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648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649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0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1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52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702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3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4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5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6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7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8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9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0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1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2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3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4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5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53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4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5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6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7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8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9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0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1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2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3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4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5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66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67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688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89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0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1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2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3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4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5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6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7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8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9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0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1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68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9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0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1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2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3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4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5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6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7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8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9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0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1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2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3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4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5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6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7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6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7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582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3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4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5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6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7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8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9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0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1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2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3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4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5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6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7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8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9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0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1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2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3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4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5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6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7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8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9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0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1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2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3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4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5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6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7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8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9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0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1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2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3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4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5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6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7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8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9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0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1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2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3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4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5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6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7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8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9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0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1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2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3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4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645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6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38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9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40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5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570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573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4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5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6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7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8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9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0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1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571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72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569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pic>
        <p:nvPicPr>
          <p:cNvPr id="318" name="Grafik 317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3032015"/>
            <a:ext cx="124905" cy="483326"/>
          </a:xfrm>
          <a:prstGeom prst="rect">
            <a:avLst/>
          </a:prstGeom>
        </p:spPr>
      </p:pic>
      <p:sp>
        <p:nvSpPr>
          <p:cNvPr id="535" name="Rechteck 534"/>
          <p:cNvSpPr/>
          <p:nvPr/>
        </p:nvSpPr>
        <p:spPr>
          <a:xfrm>
            <a:off x="6248961" y="3188189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718" name="Gerade Verbindung 537"/>
          <p:cNvCxnSpPr>
            <a:stCxn id="9252" idx="1"/>
          </p:cNvCxnSpPr>
          <p:nvPr/>
        </p:nvCxnSpPr>
        <p:spPr bwMode="auto">
          <a:xfrm flipH="1">
            <a:off x="4502287" y="2546643"/>
            <a:ext cx="432677" cy="61535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19" name="Gerade Verbindung 550"/>
          <p:cNvCxnSpPr>
            <a:stCxn id="316" idx="0"/>
          </p:cNvCxnSpPr>
          <p:nvPr/>
        </p:nvCxnSpPr>
        <p:spPr bwMode="auto">
          <a:xfrm flipH="1" flipV="1">
            <a:off x="3668493" y="4615821"/>
            <a:ext cx="555873" cy="103966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0" name="Gerade Verbindung 549"/>
          <p:cNvCxnSpPr/>
          <p:nvPr/>
        </p:nvCxnSpPr>
        <p:spPr bwMode="auto">
          <a:xfrm flipV="1">
            <a:off x="2752034" y="4656854"/>
            <a:ext cx="865451" cy="99863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1" name="Gerade Verbindung 548"/>
          <p:cNvCxnSpPr/>
          <p:nvPr/>
        </p:nvCxnSpPr>
        <p:spPr bwMode="auto">
          <a:xfrm>
            <a:off x="1028583" y="4609360"/>
            <a:ext cx="1155350" cy="223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2" name="Gerade Verbindung 548"/>
          <p:cNvCxnSpPr>
            <a:endCxn id="373" idx="1"/>
          </p:cNvCxnSpPr>
          <p:nvPr/>
        </p:nvCxnSpPr>
        <p:spPr bwMode="auto">
          <a:xfrm flipV="1">
            <a:off x="1449883" y="4653582"/>
            <a:ext cx="671598" cy="100863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65" name="Rectangle 162"/>
          <p:cNvSpPr>
            <a:spLocks noChangeArrowheads="1"/>
          </p:cNvSpPr>
          <p:nvPr/>
        </p:nvSpPr>
        <p:spPr bwMode="auto">
          <a:xfrm>
            <a:off x="1215536" y="484922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/>
              <a:t>Use case</a:t>
            </a:r>
            <a:br>
              <a:rPr lang="en-US" altLang="de-DE" sz="1200" dirty="0" smtClean="0"/>
            </a:br>
            <a:r>
              <a:rPr lang="en-US" altLang="de-DE" sz="1200" dirty="0" smtClean="0"/>
              <a:t>a) </a:t>
            </a:r>
            <a:r>
              <a:rPr lang="en-US" altLang="de-DE" sz="1200" b="1" dirty="0" smtClean="0"/>
              <a:t>WTTH</a:t>
            </a:r>
            <a:endParaRPr lang="en-US" altLang="de-DE" sz="1200" b="1" dirty="0"/>
          </a:p>
        </p:txBody>
      </p:sp>
      <p:sp>
        <p:nvSpPr>
          <p:cNvPr id="566" name="Rectangle 162"/>
          <p:cNvSpPr>
            <a:spLocks noChangeArrowheads="1"/>
          </p:cNvSpPr>
          <p:nvPr/>
        </p:nvSpPr>
        <p:spPr bwMode="auto">
          <a:xfrm>
            <a:off x="3172213" y="514118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</a:t>
            </a:r>
            <a:b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) </a:t>
            </a:r>
            <a:r>
              <a:rPr lang="en-US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TTB</a:t>
            </a:r>
          </a:p>
        </p:txBody>
      </p:sp>
    </p:spTree>
    <p:extLst>
      <p:ext uri="{BB962C8B-B14F-4D97-AF65-F5344CB8AC3E}">
        <p14:creationId xmlns:p14="http://schemas.microsoft.com/office/powerpoint/2010/main" val="41081163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40FCA93-0460-4BB8-89C2-809FD46B8F3F}" type="slidenum">
              <a:rPr lang="en-GB"/>
              <a:pPr/>
              <a:t>6</a:t>
            </a:fld>
            <a:endParaRPr lang="en-GB"/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 </a:t>
            </a:r>
            <a:br>
              <a:rPr lang="en-GB" dirty="0" smtClean="0"/>
            </a:br>
            <a:r>
              <a:rPr lang="en-GB" dirty="0" smtClean="0"/>
              <a:t>Use Case Matrix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Abgerundetes Rechteck 4"/>
          <p:cNvSpPr>
            <a:spLocks noChangeArrowheads="1"/>
          </p:cNvSpPr>
          <p:nvPr/>
        </p:nvSpPr>
        <p:spPr bwMode="auto">
          <a:xfrm>
            <a:off x="697376" y="3973390"/>
            <a:ext cx="719643" cy="40386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e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bgerundetes Rechteck 4"/>
          <p:cNvSpPr>
            <a:spLocks noChangeArrowheads="1"/>
          </p:cNvSpPr>
          <p:nvPr/>
        </p:nvSpPr>
        <p:spPr bwMode="auto">
          <a:xfrm>
            <a:off x="1615801" y="2391602"/>
            <a:ext cx="827156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TTH 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4"/>
          <p:cNvSpPr>
            <a:spLocks noChangeArrowheads="1"/>
          </p:cNvSpPr>
          <p:nvPr/>
        </p:nvSpPr>
        <p:spPr bwMode="auto">
          <a:xfrm>
            <a:off x="2664420" y="2391602"/>
            <a:ext cx="842700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) WTTB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Gerade Verbindung 11"/>
          <p:cNvCxnSpPr/>
          <p:nvPr/>
        </p:nvCxnSpPr>
        <p:spPr>
          <a:xfrm>
            <a:off x="399162" y="3904325"/>
            <a:ext cx="420718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93094" y="4442758"/>
            <a:ext cx="411325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03661" y="2914790"/>
            <a:ext cx="4202687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08582" y="2097459"/>
            <a:ext cx="0" cy="33435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255577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361303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4"/>
          <p:cNvSpPr>
            <a:spLocks noChangeArrowheads="1"/>
          </p:cNvSpPr>
          <p:nvPr/>
        </p:nvSpPr>
        <p:spPr bwMode="auto">
          <a:xfrm>
            <a:off x="694600" y="5044477"/>
            <a:ext cx="724687" cy="396553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ftop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4"/>
          <p:cNvSpPr>
            <a:spLocks noChangeArrowheads="1"/>
          </p:cNvSpPr>
          <p:nvPr/>
        </p:nvSpPr>
        <p:spPr bwMode="auto">
          <a:xfrm>
            <a:off x="694600" y="4510102"/>
            <a:ext cx="724687" cy="40651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l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V="1">
            <a:off x="493095" y="4957400"/>
            <a:ext cx="4113252" cy="2037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 bwMode="gray">
          <a:xfrm>
            <a:off x="175606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gray">
          <a:xfrm>
            <a:off x="281442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gray">
          <a:xfrm>
            <a:off x="2814428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gray">
          <a:xfrm>
            <a:off x="2814428" y="4993546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5" name="Rechteck 24"/>
          <p:cNvSpPr/>
          <p:nvPr/>
        </p:nvSpPr>
        <p:spPr>
          <a:xfrm>
            <a:off x="2665884" y="3492115"/>
            <a:ext cx="853422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AP + Repeater</a:t>
            </a:r>
            <a:r>
              <a:rPr lang="en-GB" sz="1200" baseline="30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</a:t>
            </a:r>
            <a:endParaRPr lang="en-GB" sz="6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 Verbindung 25"/>
          <p:cNvCxnSpPr/>
          <p:nvPr/>
        </p:nvCxnSpPr>
        <p:spPr>
          <a:xfrm>
            <a:off x="406094" y="3409552"/>
            <a:ext cx="420025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Abgerundetes Rechteck 4"/>
          <p:cNvSpPr>
            <a:spLocks noChangeArrowheads="1"/>
          </p:cNvSpPr>
          <p:nvPr/>
        </p:nvSpPr>
        <p:spPr bwMode="auto">
          <a:xfrm>
            <a:off x="395536" y="2972501"/>
            <a:ext cx="1021481" cy="853150"/>
          </a:xfrm>
          <a:prstGeom prst="roundRect">
            <a:avLst>
              <a:gd name="adj" fmla="val 7384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1643741" y="3017446"/>
            <a:ext cx="799216" cy="3139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</a:t>
            </a:r>
            <a:b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nna</a:t>
            </a:r>
            <a:r>
              <a:rPr lang="en-GB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</a:p>
        </p:txBody>
      </p:sp>
      <p:sp>
        <p:nvSpPr>
          <p:cNvPr id="29" name="Abgerundetes Rechteck 4"/>
          <p:cNvSpPr>
            <a:spLocks noChangeArrowheads="1"/>
          </p:cNvSpPr>
          <p:nvPr/>
        </p:nvSpPr>
        <p:spPr bwMode="auto">
          <a:xfrm rot="16200000">
            <a:off x="-179690" y="4555895"/>
            <a:ext cx="1467641" cy="302630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2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ireless BH</a:t>
            </a:r>
            <a:endParaRPr lang="en-GB" sz="1200" b="1" baseline="30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29431" y="5831688"/>
            <a:ext cx="2589875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No additional building outside-wall antenna for WTTH</a:t>
            </a:r>
          </a:p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E.g. wireless AP in the floor plus repeater at home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Abgerundetes Rechteck 4"/>
          <p:cNvSpPr>
            <a:spLocks noChangeArrowheads="1"/>
          </p:cNvSpPr>
          <p:nvPr/>
        </p:nvSpPr>
        <p:spPr bwMode="auto">
          <a:xfrm>
            <a:off x="3715524" y="2393531"/>
            <a:ext cx="890823" cy="483648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) Wi-Fi AP</a:t>
            </a: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mall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bgerundetes Rechteck 4"/>
          <p:cNvSpPr>
            <a:spLocks noChangeArrowheads="1"/>
          </p:cNvSpPr>
          <p:nvPr/>
        </p:nvSpPr>
        <p:spPr bwMode="auto">
          <a:xfrm>
            <a:off x="1610848" y="2097459"/>
            <a:ext cx="2995500" cy="24746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 Wireless Backhaul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ontent Placeholder 2"/>
          <p:cNvSpPr txBox="1">
            <a:spLocks/>
          </p:cNvSpPr>
          <p:nvPr/>
        </p:nvSpPr>
        <p:spPr bwMode="gray">
          <a:xfrm>
            <a:off x="3851920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3851920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5004048" y="1916832"/>
            <a:ext cx="3744416" cy="42084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72000" tIns="46080" rIns="7200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ireless To The Home (WTTH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xed-wireless access (FWA) scenario for residential 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flat is equipped with a receive / transmit window antenna (sector)</a:t>
            </a:r>
            <a:endParaRPr lang="en-GB" sz="1400" b="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Wireles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)</a:t>
            </a:r>
            <a:endParaRPr lang="en-GB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WA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residential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i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ped with a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 / transmit outdoor-wall antenna (sector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-building distribution is achieved by an in-building wireless or fixed network</a:t>
            </a:r>
            <a:endParaRPr lang="en-GB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GB" sz="140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Fi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 / Small Cell Backhaul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omadic and mobile usage scenario for Wi-Fi or 5G service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user equipment / device represents an end node</a:t>
            </a:r>
          </a:p>
        </p:txBody>
      </p:sp>
    </p:spTree>
    <p:extLst>
      <p:ext uri="{BB962C8B-B14F-4D97-AF65-F5344CB8AC3E}">
        <p14:creationId xmlns:p14="http://schemas.microsoft.com/office/powerpoint/2010/main" val="59618818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Distance </a:t>
            </a:r>
            <a:r>
              <a:rPr lang="en-GB" dirty="0" smtClean="0">
                <a:solidFill>
                  <a:schemeClr val="tx1"/>
                </a:solidFill>
              </a:rPr>
              <a:t>Distribution </a:t>
            </a:r>
            <a:r>
              <a:rPr lang="en-GB" dirty="0" smtClean="0">
                <a:solidFill>
                  <a:schemeClr val="tx1"/>
                </a:solidFill>
              </a:rPr>
              <a:t>– Operator Example for mmWave </a:t>
            </a:r>
            <a:r>
              <a:rPr lang="en-GB" dirty="0">
                <a:solidFill>
                  <a:schemeClr val="tx1"/>
                </a:solidFill>
              </a:rPr>
              <a:t>Mesh </a:t>
            </a:r>
            <a:r>
              <a:rPr lang="en-GB" dirty="0" smtClean="0">
                <a:solidFill>
                  <a:schemeClr val="tx1"/>
                </a:solidFill>
              </a:rPr>
              <a:t>Network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72816"/>
            <a:ext cx="4459288" cy="445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hteck 4"/>
          <p:cNvSpPr/>
          <p:nvPr/>
        </p:nvSpPr>
        <p:spPr>
          <a:xfrm>
            <a:off x="719576" y="1902432"/>
            <a:ext cx="16161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se urban area</a:t>
            </a:r>
            <a:endParaRPr lang="de-DE" sz="1400" dirty="0"/>
          </a:p>
        </p:txBody>
      </p:sp>
      <p:sp>
        <p:nvSpPr>
          <p:cNvPr id="12" name="Rectangle 2"/>
          <p:cNvSpPr/>
          <p:nvPr/>
        </p:nvSpPr>
        <p:spPr>
          <a:xfrm>
            <a:off x="5142903" y="1916832"/>
            <a:ext cx="35336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pose and methodology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broadband coverage for dense urban, urban, rural service areas in a timely and cost efficient way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ary assessment: Dense urban area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6237312"/>
            <a:ext cx="7848872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s: </a:t>
            </a:r>
            <a:r>
              <a:rPr lang="it-IT" sz="800" cap="sm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ren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disch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.: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Optical Wireless: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’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cal </a:t>
            </a:r>
            <a:r>
              <a:rPr lang="en-GB" sz="8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unications Conference (OFC)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: Optical Wireless – Can it Become a Gigabit Wireless Alternative? — Capabilities, Opportunities, Challenges and Threats, Los Angeles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A, USA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19–23,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/>
          <p:nvPr/>
        </p:nvSpPr>
        <p:spPr>
          <a:xfrm>
            <a:off x="5148063" y="3861048"/>
            <a:ext cx="3611623" cy="23314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: Distance classes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to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15 m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distance       &lt; 100 m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Furniture 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1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2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300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25983893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005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" name="Freeform 11"/>
          <p:cNvSpPr>
            <a:spLocks/>
          </p:cNvSpPr>
          <p:nvPr/>
        </p:nvSpPr>
        <p:spPr bwMode="auto">
          <a:xfrm>
            <a:off x="3152254" y="2111110"/>
            <a:ext cx="2531678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8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611560" y="679444"/>
            <a:ext cx="7920880" cy="733332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smtClean="0"/>
              <a:t>New Usage Model: </a:t>
            </a: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424374" y="2507757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Gleichschenkliges Dreieck 22"/>
          <p:cNvSpPr/>
          <p:nvPr/>
        </p:nvSpPr>
        <p:spPr bwMode="gray">
          <a:xfrm>
            <a:off x="1331640" y="2348880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1" name="Rechteck 110"/>
          <p:cNvSpPr/>
          <p:nvPr/>
        </p:nvSpPr>
        <p:spPr bwMode="gray">
          <a:xfrm>
            <a:off x="5272387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7" name="Rechteck 136"/>
          <p:cNvSpPr/>
          <p:nvPr/>
        </p:nvSpPr>
        <p:spPr bwMode="gray">
          <a:xfrm>
            <a:off x="5269745" y="376056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8" name="Rechteck 137"/>
          <p:cNvSpPr/>
          <p:nvPr/>
        </p:nvSpPr>
        <p:spPr bwMode="gray">
          <a:xfrm>
            <a:off x="5272387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9" name="Rechteck 138"/>
          <p:cNvSpPr/>
          <p:nvPr/>
        </p:nvSpPr>
        <p:spPr bwMode="gray">
          <a:xfrm>
            <a:off x="4236742" y="2209727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0" name="Rechteck 139"/>
          <p:cNvSpPr/>
          <p:nvPr/>
        </p:nvSpPr>
        <p:spPr bwMode="gray">
          <a:xfrm>
            <a:off x="4236742" y="3253843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1" name="Rechteck 140"/>
          <p:cNvSpPr/>
          <p:nvPr/>
        </p:nvSpPr>
        <p:spPr bwMode="gray">
          <a:xfrm>
            <a:off x="4236742" y="429795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2" name="Rechteck 141"/>
          <p:cNvSpPr/>
          <p:nvPr/>
        </p:nvSpPr>
        <p:spPr bwMode="gray">
          <a:xfrm>
            <a:off x="3181404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3" name="Rechteck 142"/>
          <p:cNvSpPr/>
          <p:nvPr/>
        </p:nvSpPr>
        <p:spPr bwMode="gray">
          <a:xfrm>
            <a:off x="3181404" y="3753036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4" name="Rechteck 143"/>
          <p:cNvSpPr/>
          <p:nvPr/>
        </p:nvSpPr>
        <p:spPr bwMode="gray">
          <a:xfrm>
            <a:off x="3181404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9" name="Rechteck 148"/>
          <p:cNvSpPr/>
          <p:nvPr/>
        </p:nvSpPr>
        <p:spPr bwMode="gray">
          <a:xfrm>
            <a:off x="5580112" y="2604505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52" name="Gerade Verbindung 151"/>
          <p:cNvCxnSpPr>
            <a:stCxn id="139" idx="1"/>
            <a:endCxn id="142" idx="3"/>
          </p:cNvCxnSpPr>
          <p:nvPr/>
        </p:nvCxnSpPr>
        <p:spPr>
          <a:xfrm flipH="1">
            <a:off x="3489129" y="2363590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/>
          <p:cNvCxnSpPr>
            <a:stCxn id="111" idx="1"/>
            <a:endCxn id="139" idx="3"/>
          </p:cNvCxnSpPr>
          <p:nvPr/>
        </p:nvCxnSpPr>
        <p:spPr>
          <a:xfrm flipH="1" flipV="1">
            <a:off x="4544467" y="2363590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>
            <a:stCxn id="111" idx="1"/>
            <a:endCxn id="140" idx="3"/>
          </p:cNvCxnSpPr>
          <p:nvPr/>
        </p:nvCxnSpPr>
        <p:spPr>
          <a:xfrm flipH="1">
            <a:off x="4544467" y="2862783"/>
            <a:ext cx="727920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Gerade Verbindung 160"/>
          <p:cNvCxnSpPr>
            <a:stCxn id="137" idx="1"/>
            <a:endCxn id="140" idx="3"/>
          </p:cNvCxnSpPr>
          <p:nvPr/>
        </p:nvCxnSpPr>
        <p:spPr>
          <a:xfrm flipH="1" flipV="1">
            <a:off x="4544467" y="3407706"/>
            <a:ext cx="725278" cy="50672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/>
          <p:cNvCxnSpPr>
            <a:stCxn id="138" idx="1"/>
            <a:endCxn id="141" idx="3"/>
          </p:cNvCxnSpPr>
          <p:nvPr/>
        </p:nvCxnSpPr>
        <p:spPr>
          <a:xfrm flipH="1" flipV="1">
            <a:off x="4544467" y="4451822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/>
          <p:cNvCxnSpPr>
            <a:stCxn id="137" idx="1"/>
            <a:endCxn id="141" idx="3"/>
          </p:cNvCxnSpPr>
          <p:nvPr/>
        </p:nvCxnSpPr>
        <p:spPr>
          <a:xfrm flipH="1">
            <a:off x="4544467" y="3914432"/>
            <a:ext cx="725278" cy="53739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169"/>
          <p:cNvCxnSpPr>
            <a:stCxn id="140" idx="1"/>
            <a:endCxn id="143" idx="3"/>
          </p:cNvCxnSpPr>
          <p:nvPr/>
        </p:nvCxnSpPr>
        <p:spPr>
          <a:xfrm flipH="1">
            <a:off x="3489129" y="3407706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/>
          <p:cNvCxnSpPr>
            <a:stCxn id="140" idx="1"/>
            <a:endCxn id="142" idx="3"/>
          </p:cNvCxnSpPr>
          <p:nvPr/>
        </p:nvCxnSpPr>
        <p:spPr>
          <a:xfrm flipH="1" flipV="1">
            <a:off x="3489129" y="2862783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175"/>
          <p:cNvCxnSpPr>
            <a:stCxn id="141" idx="1"/>
            <a:endCxn id="144" idx="3"/>
          </p:cNvCxnSpPr>
          <p:nvPr/>
        </p:nvCxnSpPr>
        <p:spPr>
          <a:xfrm flipH="1">
            <a:off x="3489129" y="4451822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178"/>
          <p:cNvCxnSpPr>
            <a:stCxn id="141" idx="1"/>
            <a:endCxn id="143" idx="3"/>
          </p:cNvCxnSpPr>
          <p:nvPr/>
        </p:nvCxnSpPr>
        <p:spPr>
          <a:xfrm flipH="1" flipV="1">
            <a:off x="3489129" y="3906899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181"/>
          <p:cNvCxnSpPr>
            <a:stCxn id="138" idx="1"/>
          </p:cNvCxnSpPr>
          <p:nvPr/>
        </p:nvCxnSpPr>
        <p:spPr>
          <a:xfrm flipH="1">
            <a:off x="5004048" y="4951015"/>
            <a:ext cx="268339" cy="278185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5787752" y="4955207"/>
            <a:ext cx="656456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>
            <a:stCxn id="149" idx="3"/>
          </p:cNvCxnSpPr>
          <p:nvPr/>
        </p:nvCxnSpPr>
        <p:spPr>
          <a:xfrm>
            <a:off x="5787752" y="2866975"/>
            <a:ext cx="728464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74" name="Gruppieren 6173"/>
          <p:cNvGrpSpPr/>
          <p:nvPr/>
        </p:nvGrpSpPr>
        <p:grpSpPr>
          <a:xfrm rot="16200000">
            <a:off x="5989235" y="4852456"/>
            <a:ext cx="80520" cy="124981"/>
            <a:chOff x="6014084" y="4701418"/>
            <a:chExt cx="80520" cy="124981"/>
          </a:xfrm>
        </p:grpSpPr>
        <p:sp>
          <p:nvSpPr>
            <p:cNvPr id="193" name="Ellipse 192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194" name="Ellipse 193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99" name="Gruppieren 198"/>
          <p:cNvGrpSpPr/>
          <p:nvPr/>
        </p:nvGrpSpPr>
        <p:grpSpPr>
          <a:xfrm rot="16200000">
            <a:off x="5989235" y="2758698"/>
            <a:ext cx="80520" cy="124981"/>
            <a:chOff x="6014084" y="4701418"/>
            <a:chExt cx="80520" cy="124981"/>
          </a:xfrm>
        </p:grpSpPr>
        <p:sp>
          <p:nvSpPr>
            <p:cNvPr id="200" name="Ellipse 199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201" name="Ellipse 200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6175" name="Rechteck 6174"/>
          <p:cNvSpPr/>
          <p:nvPr/>
        </p:nvSpPr>
        <p:spPr>
          <a:xfrm>
            <a:off x="5850574" y="2858989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203" name="Rechteck 202"/>
          <p:cNvSpPr/>
          <p:nvPr/>
        </p:nvSpPr>
        <p:spPr>
          <a:xfrm>
            <a:off x="3560391" y="4806952"/>
            <a:ext cx="161133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Mesh</a:t>
            </a:r>
            <a:b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 bwMode="gray">
          <a:xfrm>
            <a:off x="1424374" y="3594228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1" name="Gleichschenkliges Dreieck 220"/>
          <p:cNvSpPr/>
          <p:nvPr/>
        </p:nvSpPr>
        <p:spPr bwMode="gray">
          <a:xfrm>
            <a:off x="1331640" y="3435351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4" name="Rechteck 153"/>
          <p:cNvSpPr/>
          <p:nvPr/>
        </p:nvSpPr>
        <p:spPr bwMode="auto">
          <a:xfrm>
            <a:off x="1475656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5" name="Rechteck 234"/>
          <p:cNvSpPr/>
          <p:nvPr/>
        </p:nvSpPr>
        <p:spPr bwMode="auto">
          <a:xfrm>
            <a:off x="1723971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6" name="Rechteck 235"/>
          <p:cNvSpPr/>
          <p:nvPr/>
        </p:nvSpPr>
        <p:spPr bwMode="auto">
          <a:xfrm>
            <a:off x="1479080" y="394179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7" name="Rechteck 236"/>
          <p:cNvSpPr/>
          <p:nvPr/>
        </p:nvSpPr>
        <p:spPr bwMode="auto">
          <a:xfrm>
            <a:off x="1723971" y="394010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8" name="Rechteck 237"/>
          <p:cNvSpPr/>
          <p:nvPr/>
        </p:nvSpPr>
        <p:spPr bwMode="auto">
          <a:xfrm>
            <a:off x="1483977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9" name="Rechteck 238"/>
          <p:cNvSpPr/>
          <p:nvPr/>
        </p:nvSpPr>
        <p:spPr bwMode="auto">
          <a:xfrm>
            <a:off x="1732292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0" name="Rechteck 239"/>
          <p:cNvSpPr/>
          <p:nvPr/>
        </p:nvSpPr>
        <p:spPr bwMode="auto">
          <a:xfrm>
            <a:off x="1487401" y="286167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1" name="Rechteck 240"/>
          <p:cNvSpPr/>
          <p:nvPr/>
        </p:nvSpPr>
        <p:spPr bwMode="auto">
          <a:xfrm>
            <a:off x="1732292" y="285998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grpSp>
        <p:nvGrpSpPr>
          <p:cNvPr id="211" name="Gruppieren 210"/>
          <p:cNvGrpSpPr/>
          <p:nvPr/>
        </p:nvGrpSpPr>
        <p:grpSpPr>
          <a:xfrm>
            <a:off x="1784500" y="2620708"/>
            <a:ext cx="87144" cy="144016"/>
            <a:chOff x="2502942" y="2348880"/>
            <a:chExt cx="87144" cy="144016"/>
          </a:xfrm>
        </p:grpSpPr>
        <p:cxnSp>
          <p:nvCxnSpPr>
            <p:cNvPr id="212" name="Gerade Verbindung 211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3" name="Gerade Verbindung 212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4" name="Gruppieren 213"/>
          <p:cNvGrpSpPr/>
          <p:nvPr/>
        </p:nvGrpSpPr>
        <p:grpSpPr>
          <a:xfrm>
            <a:off x="1539743" y="2872629"/>
            <a:ext cx="87144" cy="144016"/>
            <a:chOff x="2502942" y="2348880"/>
            <a:chExt cx="87144" cy="144016"/>
          </a:xfrm>
        </p:grpSpPr>
        <p:cxnSp>
          <p:nvCxnSpPr>
            <p:cNvPr id="215" name="Gerade Verbindung 214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6" name="Gerade Verbindung 215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8" name="Rechteck 277"/>
          <p:cNvSpPr/>
          <p:nvPr/>
        </p:nvSpPr>
        <p:spPr>
          <a:xfrm>
            <a:off x="367891" y="3789040"/>
            <a:ext cx="9012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) WTTB</a:t>
            </a:r>
            <a:endParaRPr lang="de-DE" sz="1400" dirty="0"/>
          </a:p>
        </p:txBody>
      </p:sp>
      <p:sp>
        <p:nvSpPr>
          <p:cNvPr id="279" name="Rechteck 278"/>
          <p:cNvSpPr/>
          <p:nvPr/>
        </p:nvSpPr>
        <p:spPr>
          <a:xfrm>
            <a:off x="367891" y="2647945"/>
            <a:ext cx="9108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) WTTH</a:t>
            </a:r>
            <a:endParaRPr lang="de-DE" sz="1400" dirty="0"/>
          </a:p>
        </p:txBody>
      </p:sp>
      <p:sp>
        <p:nvSpPr>
          <p:cNvPr id="280" name="Rechteck 279"/>
          <p:cNvSpPr/>
          <p:nvPr/>
        </p:nvSpPr>
        <p:spPr>
          <a:xfrm>
            <a:off x="367891" y="4880193"/>
            <a:ext cx="1107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) Wi-Fi AP/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mall </a:t>
            </a:r>
            <a:r>
              <a:rPr lang="en-US" sz="14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C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ell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1" name="Freeform 11"/>
          <p:cNvSpPr>
            <a:spLocks/>
          </p:cNvSpPr>
          <p:nvPr/>
        </p:nvSpPr>
        <p:spPr bwMode="auto">
          <a:xfrm>
            <a:off x="6276830" y="2209726"/>
            <a:ext cx="1985962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6806740" y="3645024"/>
            <a:ext cx="94769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vider</a:t>
            </a:r>
            <a:b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/>
          </a:p>
        </p:txBody>
      </p:sp>
      <p:sp>
        <p:nvSpPr>
          <p:cNvPr id="329" name="Rechteck 328"/>
          <p:cNvSpPr/>
          <p:nvPr/>
        </p:nvSpPr>
        <p:spPr bwMode="gray">
          <a:xfrm>
            <a:off x="3033995" y="602547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7081783" y="5949280"/>
            <a:ext cx="12346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tical fiber</a:t>
            </a:r>
            <a:b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rmination node</a:t>
            </a:r>
            <a:endParaRPr lang="de-DE" sz="1100" dirty="0"/>
          </a:p>
        </p:txBody>
      </p:sp>
      <p:cxnSp>
        <p:nvCxnSpPr>
          <p:cNvPr id="323" name="Gerade Verbindung 322"/>
          <p:cNvCxnSpPr/>
          <p:nvPr/>
        </p:nvCxnSpPr>
        <p:spPr bwMode="auto">
          <a:xfrm>
            <a:off x="683568" y="5805264"/>
            <a:ext cx="7848872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3" name="Rechteck 332"/>
          <p:cNvSpPr/>
          <p:nvPr/>
        </p:nvSpPr>
        <p:spPr>
          <a:xfrm>
            <a:off x="3342804" y="5949280"/>
            <a:ext cx="31734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Distribution Node,</a:t>
            </a:r>
            <a:b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e or more collocated </a:t>
            </a:r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s </a:t>
            </a:r>
            <a:endParaRPr lang="de-DE" sz="1100" dirty="0">
              <a:solidFill>
                <a:schemeClr val="tx1"/>
              </a:solidFill>
            </a:endParaRPr>
          </a:p>
        </p:txBody>
      </p:sp>
      <p:grpSp>
        <p:nvGrpSpPr>
          <p:cNvPr id="336" name="Gruppieren 335"/>
          <p:cNvGrpSpPr/>
          <p:nvPr/>
        </p:nvGrpSpPr>
        <p:grpSpPr>
          <a:xfrm>
            <a:off x="1619672" y="6077118"/>
            <a:ext cx="72008" cy="144016"/>
            <a:chOff x="2502942" y="2348880"/>
            <a:chExt cx="72008" cy="144016"/>
          </a:xfrm>
        </p:grpSpPr>
        <p:cxnSp>
          <p:nvCxnSpPr>
            <p:cNvPr id="337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8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9" name="Rechteck 338"/>
          <p:cNvSpPr/>
          <p:nvPr/>
        </p:nvSpPr>
        <p:spPr>
          <a:xfrm>
            <a:off x="1691680" y="5949280"/>
            <a:ext cx="8512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593938" y="5902342"/>
            <a:ext cx="7377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gend:</a:t>
            </a:r>
            <a:endParaRPr lang="de-DE" sz="1200" dirty="0"/>
          </a:p>
        </p:txBody>
      </p:sp>
      <p:cxnSp>
        <p:nvCxnSpPr>
          <p:cNvPr id="147" name="Gerade Verbindung 146"/>
          <p:cNvCxnSpPr>
            <a:stCxn id="236" idx="0"/>
          </p:cNvCxnSpPr>
          <p:nvPr/>
        </p:nvCxnSpPr>
        <p:spPr>
          <a:xfrm rot="5400000" flipH="1" flipV="1">
            <a:off x="1762379" y="3717266"/>
            <a:ext cx="29443" cy="419616"/>
          </a:xfrm>
          <a:prstGeom prst="bentConnector5">
            <a:avLst>
              <a:gd name="adj1" fmla="val 140611"/>
              <a:gd name="adj2" fmla="val 55696"/>
              <a:gd name="adj3" fmla="val 130568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46"/>
          <p:cNvCxnSpPr>
            <a:stCxn id="235" idx="2"/>
          </p:cNvCxnSpPr>
          <p:nvPr/>
        </p:nvCxnSpPr>
        <p:spPr>
          <a:xfrm rot="16200000" flipH="1">
            <a:off x="1873893" y="3799337"/>
            <a:ext cx="51304" cy="174725"/>
          </a:xfrm>
          <a:prstGeom prst="bentConnector3">
            <a:avLst>
              <a:gd name="adj1" fmla="val 77015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0" name="Grafik 15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4797152"/>
            <a:ext cx="141847" cy="548884"/>
          </a:xfrm>
          <a:prstGeom prst="rect">
            <a:avLst/>
          </a:prstGeom>
        </p:spPr>
      </p:pic>
      <p:pic>
        <p:nvPicPr>
          <p:cNvPr id="162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2" r="65432"/>
          <a:stretch/>
        </p:blipFill>
        <p:spPr bwMode="auto">
          <a:xfrm flipV="1">
            <a:off x="1377016" y="4917782"/>
            <a:ext cx="213871" cy="2250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65" name="Rechteck 164"/>
          <p:cNvSpPr/>
          <p:nvPr/>
        </p:nvSpPr>
        <p:spPr>
          <a:xfrm>
            <a:off x="5857774" y="4937801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166" name="Rechteck 165"/>
          <p:cNvSpPr/>
          <p:nvPr/>
        </p:nvSpPr>
        <p:spPr bwMode="gray">
          <a:xfrm>
            <a:off x="5577470" y="4684751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6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67292" y="4892608"/>
            <a:ext cx="198025" cy="26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Rechteck 141"/>
          <p:cNvSpPr/>
          <p:nvPr/>
        </p:nvSpPr>
        <p:spPr bwMode="gray">
          <a:xfrm>
            <a:off x="1746564" y="486713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45" name="Gerade Verbindung 172"/>
          <p:cNvCxnSpPr>
            <a:stCxn id="142" idx="1"/>
          </p:cNvCxnSpPr>
          <p:nvPr/>
        </p:nvCxnSpPr>
        <p:spPr>
          <a:xfrm flipH="1" flipV="1">
            <a:off x="1899546" y="2677426"/>
            <a:ext cx="1281858" cy="18535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Gerade Verbindung 172"/>
          <p:cNvCxnSpPr>
            <a:stCxn id="142" idx="1"/>
            <a:endCxn id="240" idx="3"/>
          </p:cNvCxnSpPr>
          <p:nvPr/>
        </p:nvCxnSpPr>
        <p:spPr>
          <a:xfrm flipH="1">
            <a:off x="1663825" y="2862783"/>
            <a:ext cx="1517579" cy="87104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172"/>
          <p:cNvCxnSpPr>
            <a:stCxn id="144" idx="1"/>
          </p:cNvCxnSpPr>
          <p:nvPr/>
        </p:nvCxnSpPr>
        <p:spPr>
          <a:xfrm flipH="1">
            <a:off x="2048440" y="4951015"/>
            <a:ext cx="1132964" cy="6997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Gerade Verbindung 172"/>
          <p:cNvCxnSpPr>
            <a:stCxn id="143" idx="1"/>
          </p:cNvCxnSpPr>
          <p:nvPr/>
        </p:nvCxnSpPr>
        <p:spPr>
          <a:xfrm flipH="1" flipV="1">
            <a:off x="2048440" y="3834957"/>
            <a:ext cx="1132964" cy="71942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335"/>
          <p:cNvGrpSpPr/>
          <p:nvPr/>
        </p:nvGrpSpPr>
        <p:grpSpPr>
          <a:xfrm>
            <a:off x="1976112" y="3754760"/>
            <a:ext cx="79209" cy="144016"/>
            <a:chOff x="2502942" y="2348880"/>
            <a:chExt cx="72008" cy="144016"/>
          </a:xfrm>
        </p:grpSpPr>
        <p:cxnSp>
          <p:nvCxnSpPr>
            <p:cNvPr id="94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7" name="Rechteck 86"/>
          <p:cNvSpPr/>
          <p:nvPr/>
        </p:nvSpPr>
        <p:spPr bwMode="gray">
          <a:xfrm>
            <a:off x="6874143" y="5868450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55780" y="2041103"/>
            <a:ext cx="10711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s: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2625469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73" y="685801"/>
            <a:ext cx="7922468" cy="726975"/>
          </a:xfrm>
        </p:spPr>
        <p:txBody>
          <a:bodyPr/>
          <a:lstStyle/>
          <a:p>
            <a:r>
              <a:rPr lang="en-US" dirty="0" smtClean="0"/>
              <a:t>New Usage Model: </a:t>
            </a:r>
            <a:r>
              <a:rPr lang="en-US" dirty="0" err="1" smtClean="0"/>
              <a:t>mmWave</a:t>
            </a:r>
            <a:r>
              <a:rPr lang="en-US" dirty="0" smtClean="0"/>
              <a:t> Mesh Network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36000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multiple hop wireless backhauling de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DNs is 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(street-poles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, &lt;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000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rooftop)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the distance between DN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me/Building APs is &lt; 100 m.</a:t>
            </a: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conditions or other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perations in the sam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ea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bstructions 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beam un-alignment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  <a:endParaRPr lang="en-US" sz="12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WTTH/B DNs, which offer FTTH-like broadband access for residential customers as well a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Small cells and </a:t>
            </a:r>
            <a:r>
              <a:rPr lang="en-US" sz="1200" kern="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-APs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e.g. 802.11ac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, which offer mobile and nomadic ser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-of-Failure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ver multipl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ps in order to reach coverage. In addition to the Mesh backhaul, also a point-to-multipoint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network i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uild to serve homes, buildings,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AP and small cells. </a:t>
            </a: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WTTH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H DNs, which are placed at street poles (e.g. lamppost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 DNs serve the individual homes/ flats via a window AP at client side instead of deploying expensi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 network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he building branch an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WTTH radio links work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 the same or optional on different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frequency than the mmWave Mesh backhaul links.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</a:t>
            </a: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esh backhau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for backhauling of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which are placed at street poles (e.g. lamppost) or at walls 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ooftop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links 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the sam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requency as 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inks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f street poles are used,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e the buildings via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outdoor-wall AP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case of Wall-to-Wall or Roof-to-Roof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it serves at the same time as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uilding access network without usage of additional street  poles.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enario require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additional wireless or fixed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serve the </a:t>
            </a:r>
            <a:r>
              <a:rPr lang="en-US" sz="105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individual flats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</a:t>
            </a:r>
            <a:r>
              <a:rPr lang="en-US" sz="1050" b="1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Fi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AP &amp; Small cell Backhaul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esh backhau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for backhauling of Small Cells and Wi-Fi APs, which are e.g. placed at street poles. Traffic of mobile and nomadic services will be aggregated and carried towards the mobile core. The sub-6 GHz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eration of the Small Cells and Wi-Fi APs imposes less challenges compared to WTTH/B to reach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mobile) users, however does not reach the capacity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vel of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/B solutions.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 smtClean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0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ce presentation subject title text here]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ce presentation subject title text here]</Template>
  <TotalTime>0</TotalTime>
  <Words>4131</Words>
  <Application>Microsoft Office PowerPoint</Application>
  <PresentationFormat>Bildschirmpräsentation (4:3)</PresentationFormat>
  <Paragraphs>548</Paragraphs>
  <Slides>22</Slides>
  <Notes>1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2</vt:i4>
      </vt:variant>
    </vt:vector>
  </HeadingPairs>
  <TitlesOfParts>
    <vt:vector size="25" baseType="lpstr">
      <vt:lpstr>place presentation subject title text here]</vt:lpstr>
      <vt:lpstr>think-cell Folie</vt:lpstr>
      <vt:lpstr>Document</vt:lpstr>
      <vt:lpstr>mmWave Mesh Network Usage Model</vt:lpstr>
      <vt:lpstr>Abstract</vt:lpstr>
      <vt:lpstr>Introduction</vt:lpstr>
      <vt:lpstr>Service Provider Motivation for mmWave Mesh Networks</vt:lpstr>
      <vt:lpstr>mmWave Mesh Network – Area View</vt:lpstr>
      <vt:lpstr>mmWave Mesh Network  Use Case Matrix</vt:lpstr>
      <vt:lpstr>Distance Distribution – Operator Example for mmWave Mesh Networks </vt:lpstr>
      <vt:lpstr>New Usage Model: mmWave Mesh Network</vt:lpstr>
      <vt:lpstr>New Usage Model: mmWave Mesh Network</vt:lpstr>
      <vt:lpstr>New Usage Model: Operational Requirements</vt:lpstr>
      <vt:lpstr>Proposed changes to 11ay use case document [3]</vt:lpstr>
      <vt:lpstr>Summary</vt:lpstr>
      <vt:lpstr>Straw Poll #1</vt:lpstr>
      <vt:lpstr>Motion #1</vt:lpstr>
      <vt:lpstr>Straw Poll #2</vt:lpstr>
      <vt:lpstr>Motion #2</vt:lpstr>
      <vt:lpstr>References</vt:lpstr>
      <vt:lpstr>Abbreviations</vt:lpstr>
      <vt:lpstr>Appendix</vt:lpstr>
      <vt:lpstr>Use Case: a) WTTH Access</vt:lpstr>
      <vt:lpstr>Use Case: b) WTTB Access</vt:lpstr>
      <vt:lpstr>Use Case: c) WiFi AP &amp; Small Cell BH</vt:lpstr>
    </vt:vector>
  </TitlesOfParts>
  <Company>DTAG, Technology Innov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VLC Use Cases</dc:title>
  <dc:creator>Grigat.Michael</dc:creator>
  <cp:lastModifiedBy>Grigat.Michael</cp:lastModifiedBy>
  <cp:revision>489</cp:revision>
  <cp:lastPrinted>2017-07-07T16:51:48Z</cp:lastPrinted>
  <dcterms:created xsi:type="dcterms:W3CDTF">2017-03-29T12:39:23Z</dcterms:created>
  <dcterms:modified xsi:type="dcterms:W3CDTF">2017-07-10T09:16:51Z</dcterms:modified>
</cp:coreProperties>
</file>